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3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7"/>
  </p:notesMasterIdLst>
  <p:sldIdLst>
    <p:sldId id="584" r:id="rId2"/>
    <p:sldId id="386" r:id="rId3"/>
    <p:sldId id="582" r:id="rId4"/>
    <p:sldId id="456" r:id="rId5"/>
    <p:sldId id="545" r:id="rId6"/>
    <p:sldId id="457" r:id="rId7"/>
    <p:sldId id="360" r:id="rId8"/>
    <p:sldId id="366" r:id="rId9"/>
    <p:sldId id="367" r:id="rId10"/>
    <p:sldId id="368" r:id="rId11"/>
    <p:sldId id="294" r:id="rId12"/>
    <p:sldId id="556" r:id="rId13"/>
    <p:sldId id="548" r:id="rId14"/>
    <p:sldId id="578" r:id="rId15"/>
    <p:sldId id="577" r:id="rId16"/>
    <p:sldId id="628" r:id="rId17"/>
    <p:sldId id="583" r:id="rId18"/>
    <p:sldId id="459" r:id="rId19"/>
    <p:sldId id="345" r:id="rId20"/>
    <p:sldId id="303" r:id="rId21"/>
    <p:sldId id="593" r:id="rId22"/>
    <p:sldId id="629" r:id="rId23"/>
    <p:sldId id="630" r:id="rId24"/>
    <p:sldId id="631" r:id="rId25"/>
    <p:sldId id="632" r:id="rId26"/>
    <p:sldId id="633" r:id="rId27"/>
    <p:sldId id="634" r:id="rId28"/>
    <p:sldId id="635" r:id="rId29"/>
    <p:sldId id="625" r:id="rId30"/>
    <p:sldId id="626" r:id="rId31"/>
    <p:sldId id="450" r:id="rId32"/>
    <p:sldId id="460" r:id="rId33"/>
    <p:sldId id="510" r:id="rId34"/>
    <p:sldId id="270" r:id="rId35"/>
    <p:sldId id="299" r:id="rId36"/>
    <p:sldId id="581" r:id="rId37"/>
    <p:sldId id="637" r:id="rId38"/>
    <p:sldId id="636" r:id="rId39"/>
    <p:sldId id="639" r:id="rId40"/>
    <p:sldId id="638" r:id="rId41"/>
    <p:sldId id="640" r:id="rId42"/>
    <p:sldId id="641" r:id="rId43"/>
    <p:sldId id="305" r:id="rId44"/>
    <p:sldId id="306" r:id="rId45"/>
    <p:sldId id="317" r:id="rId46"/>
    <p:sldId id="511" r:id="rId47"/>
    <p:sldId id="543" r:id="rId48"/>
    <p:sldId id="512" r:id="rId49"/>
    <p:sldId id="513" r:id="rId50"/>
    <p:sldId id="514" r:id="rId51"/>
    <p:sldId id="528" r:id="rId52"/>
    <p:sldId id="320" r:id="rId53"/>
    <p:sldId id="546" r:id="rId54"/>
    <p:sldId id="594" r:id="rId55"/>
    <p:sldId id="272" r:id="rId56"/>
    <p:sldId id="274" r:id="rId57"/>
    <p:sldId id="369" r:id="rId58"/>
    <p:sldId id="355" r:id="rId59"/>
    <p:sldId id="353" r:id="rId60"/>
    <p:sldId id="354" r:id="rId61"/>
    <p:sldId id="322" r:id="rId62"/>
    <p:sldId id="321" r:id="rId63"/>
    <p:sldId id="549" r:id="rId64"/>
    <p:sldId id="586" r:id="rId65"/>
    <p:sldId id="587" r:id="rId66"/>
    <p:sldId id="597" r:id="rId67"/>
    <p:sldId id="596" r:id="rId68"/>
    <p:sldId id="595" r:id="rId69"/>
    <p:sldId id="598" r:id="rId70"/>
    <p:sldId id="599" r:id="rId71"/>
    <p:sldId id="600" r:id="rId72"/>
    <p:sldId id="591" r:id="rId73"/>
    <p:sldId id="602" r:id="rId74"/>
    <p:sldId id="603" r:id="rId75"/>
    <p:sldId id="604" r:id="rId76"/>
    <p:sldId id="607" r:id="rId77"/>
    <p:sldId id="606" r:id="rId78"/>
    <p:sldId id="552" r:id="rId79"/>
    <p:sldId id="550" r:id="rId80"/>
    <p:sldId id="551" r:id="rId81"/>
    <p:sldId id="642" r:id="rId82"/>
    <p:sldId id="565" r:id="rId83"/>
    <p:sldId id="553" r:id="rId84"/>
    <p:sldId id="564" r:id="rId85"/>
    <p:sldId id="554" r:id="rId86"/>
    <p:sldId id="558" r:id="rId87"/>
    <p:sldId id="559" r:id="rId88"/>
    <p:sldId id="566" r:id="rId89"/>
    <p:sldId id="343" r:id="rId90"/>
    <p:sldId id="608" r:id="rId91"/>
    <p:sldId id="609" r:id="rId92"/>
    <p:sldId id="611" r:id="rId93"/>
    <p:sldId id="612" r:id="rId94"/>
    <p:sldId id="613" r:id="rId95"/>
    <p:sldId id="614" r:id="rId96"/>
    <p:sldId id="562" r:id="rId97"/>
    <p:sldId id="381" r:id="rId98"/>
    <p:sldId id="615" r:id="rId99"/>
    <p:sldId id="616" r:id="rId100"/>
    <p:sldId id="643" r:id="rId101"/>
    <p:sldId id="617" r:id="rId102"/>
    <p:sldId id="644" r:id="rId103"/>
    <p:sldId id="263" r:id="rId104"/>
    <p:sldId id="619" r:id="rId105"/>
    <p:sldId id="618" r:id="rId106"/>
    <p:sldId id="572" r:id="rId107"/>
    <p:sldId id="316" r:id="rId108"/>
    <p:sldId id="573" r:id="rId109"/>
    <p:sldId id="623" r:id="rId110"/>
    <p:sldId id="622" r:id="rId111"/>
    <p:sldId id="624" r:id="rId112"/>
    <p:sldId id="266" r:id="rId113"/>
    <p:sldId id="557" r:id="rId114"/>
    <p:sldId id="280" r:id="rId115"/>
    <p:sldId id="569" r:id="rId116"/>
  </p:sldIdLst>
  <p:sldSz cx="12192000" cy="6858000"/>
  <p:notesSz cx="6858000" cy="9144000"/>
  <p:custDataLst>
    <p:tags r:id="rId1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2C2AE"/>
    <a:srgbClr val="91A5CC"/>
    <a:srgbClr val="CD9891"/>
    <a:srgbClr val="A990CC"/>
    <a:srgbClr val="C0D1B3"/>
    <a:srgbClr val="92A7D0"/>
    <a:srgbClr val="C45344"/>
    <a:srgbClr val="494996"/>
    <a:srgbClr val="333387"/>
    <a:srgbClr val="5079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19"/>
    <p:restoredTop sz="91499"/>
  </p:normalViewPr>
  <p:slideViewPr>
    <p:cSldViewPr snapToGrid="0">
      <p:cViewPr>
        <p:scale>
          <a:sx n="85" d="100"/>
          <a:sy n="85" d="100"/>
        </p:scale>
        <p:origin x="160" y="6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5" d="100"/>
        <a:sy n="13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tags" Target="tags/tag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presProps" Target="presProps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theme" Target="theme/theme1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ACE2D1-4B9C-0441-AC2C-4EC47951C1D5}" type="datetimeFigureOut">
              <a:rPr lang="en-US" smtClean="0"/>
              <a:t>1/29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FC1AA8-C84E-A04D-929A-FBFD841857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006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580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1D64BB-F474-8019-F9C5-33B9CD66E4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A9F63F-39D3-3517-A7E6-0A35199052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701C41-0925-CF8C-5661-9DDF60F73B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2AD9C9-6308-02B9-B65A-35DC9F9798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8940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E3FDA9-E78B-8E6A-5ABC-A2625D8481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F224C52-D09A-AEF8-4F32-E8CAA62671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3A9C4DB-95EF-0874-7276-85F53CA2B2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0C461B-B2A3-AC1C-9396-FB0F7D70F1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7662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22A2C7-CC78-E24F-6A01-30106640A9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1C8921-35A7-E1EE-A753-E84FCB453F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A02CFC-C299-7D22-B0DC-2BC2EFCA85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9D1627-F7D8-5E2E-C08F-01D9099EE7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7232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1A06EA-A13F-54C6-A73B-FF8764544C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281A96-B3D8-C8DE-9ABE-57A78B970C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B1C7A9-F205-FE11-032B-D8505E1975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17B889-E4CC-A588-EF82-F5A7B005FE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6441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170505-5E5E-A31A-F21E-F4502BCD51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630481-1590-99DE-6825-BD26C90C23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B2BF6A-FA0D-042D-53EA-B544877140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ADA149-BE37-D386-463A-C148D1F523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0079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205123-D28A-DF27-628D-54D022BFD0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BA2B35-3D93-BD91-A5CE-A1022CC7B9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1E6E02-FAF8-62FE-E552-AF3471EFC1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AA9313-0B36-2DC1-8597-EC69B168B4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6613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7889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80130A-3EE5-DC89-18CD-3097B1689C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6D43D8-97D8-961E-470A-1E800CD327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563DCD-92F5-AD5F-9517-22213F8B24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8F895C-4902-566C-81EF-257501B7B7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4299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FA6206-25F4-D6AC-ED2C-B7432CCC37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FAC04F-53E0-33D2-7284-41CE6D602A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DC8618-D44B-1E18-9B0E-BE7819E661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3D3CA3-5FAE-9CC5-2A2F-A305D3F23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2092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0D91C0-1B03-B4B9-7842-B00E3A6A91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03BBB8-C97C-439E-980B-0E53111B5D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9FE683-DD32-3CB9-42A2-D640FC8262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BCDA33-C2C8-8BDC-78E0-A81ED71C14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5842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offer workshops and individual consul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26390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DF6BB7-8D12-2BED-43A7-49018D5808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D03E28-92E5-7CD6-15E9-5DDCCED88F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549F07-80A5-AC7E-A062-3B77A0E0A3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FB8569-0B16-B1B4-3E4C-3687C4A9B7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3395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D55405-A999-2CC3-5C4E-5EF1A51D5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DF6788-F42D-2909-C4C3-F6166F46D7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53EC60-35DC-B2DD-4CCE-C2A08C9E71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9F08B6-EEFD-7F37-0362-0B267DE30A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4477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C11655-45F9-5015-B6E5-43B4220EE6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8BAE18-0504-715F-9DCD-C11BC6C8BD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42EF439-6A83-8AFB-F33E-CB19180FFD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797443-4FA9-419B-4671-AFFCBECE41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01112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SLIDE BEF ORE WITHOUT </a:t>
            </a:r>
            <a:r>
              <a:rPr lang="en-US" dirty="0" err="1"/>
              <a:t>X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36628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593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55562-8971-67EE-8208-BC5F70CC8A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16EFD9-832B-5A52-065C-A0997A3B2D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2C39D6-7165-9D57-BB03-74DE064DA2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D4230A-AC84-AC09-A14F-0EAA5904C6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06735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example: If we wanted to make a bar plot that shows how frequently each of the continents is represented in our dataset.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34543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INFO ABOUT THE SILENT STAT=S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76539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815F68-8E78-AC2B-BEFC-84EAB1104C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12597D-F224-EFBD-F1B5-AFFE7D9EC1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9E6045-EE44-77F9-4F5F-5C32D2790D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849169-A8AC-DFFF-E05D-A6715758A6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39862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IMAGE OF DEFAULT COLOR SCA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2171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A22598-396D-E99A-3372-F57DB718BE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EB6D2A-9643-76AA-DC64-B1FD5B2E8A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C9A420-BD69-653F-DA1B-14FE2FCB7E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move it ov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A37791-46C5-B0E5-AA5C-F15CB3BFA3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31306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4A5172-29AB-BCEA-DC4A-6819BE2AE0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4EE31F-0A85-B452-FE8D-7903B909A2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82F7E7-2273-BD97-A9AD-92EED63ECD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IMAGE OF DEFAULT COLOR SCA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2C5C81-34B5-F039-E86D-F59373BDB8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7666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amework that follows a layered approach constructing visualization. It allows us to </a:t>
            </a:r>
            <a:r>
              <a:rPr lang="en-US" dirty="0" err="1"/>
              <a:t>buid</a:t>
            </a:r>
            <a:r>
              <a:rPr lang="en-US" dirty="0"/>
              <a:t> visualizations in a structured and methodical way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9851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Versatile – customize visual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Publication ready graphics </a:t>
            </a:r>
          </a:p>
          <a:p>
            <a:r>
              <a:rPr lang="en-US" sz="1200" dirty="0"/>
              <a:t>     (or at least pretty close to it)</a:t>
            </a:r>
          </a:p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Integration with analysis in R</a:t>
            </a:r>
          </a:p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Succinct </a:t>
            </a:r>
          </a:p>
          <a:p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3873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spoke fig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5974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BA99CF-C849-CFAA-5D19-AB62ADCF48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63EC8F-167B-CA62-7A46-3398473532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1EF0C1-3751-31C8-5288-A3F9DD6753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125618-9BC2-5C54-588B-7090D853DF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6728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574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B81D97-FB09-34F6-D174-0F033DB9D0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07665BB-92CE-35C8-24F8-F5EA7A9877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BD3975-4919-AF94-A136-B8A4292333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ABCBA-4181-D99E-7A34-C472619BD1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8354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F78B91-F44B-54D6-F179-AC6D9431C0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126999-BF2C-B8A6-6761-E9AA32F3E8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57CF0C-D4AD-0BD2-E72B-BF0734BEC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1/29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E7368C-55B4-11A0-AF96-AEE9E36B80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542129-4F68-D807-F2B0-DD5A401E2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76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76184-9A5B-DAD6-A632-944A6A647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BACA3D-C01C-89F2-23E7-8A6ECF28ED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B25642-1E76-10C8-99BC-C89688A523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1/29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00F02E-38B4-35D8-7EB5-B5609BAC6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5B29B9-4151-41E0-BCE0-F50858F4C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66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097F8EB-A346-F0C3-6637-1BFE99E76CA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CFA26DA-D09C-387F-8137-A77AF48C7F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3AAB20-2883-D687-D807-D155B503A0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1/29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CB4FDB-0D9D-B5B4-C44A-C5B0A893B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4B206B-CB12-6E84-49D4-767B913F4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6438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F4569-072D-CD1D-2BAF-41FACB7C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C9DBEE-43EE-6BE6-4E7C-FD36B1EBEC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3F218-E031-F0ED-AA6C-1A4730C03A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1/29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20D622-827B-00DA-F087-1288AAFC4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3E6D00-5F0C-B2DA-5750-DF02F7FAD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73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068FD2-C4BA-A925-79CF-B8A78151F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9F129-6131-2874-9AFE-D19E7C0623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472B4C-C88B-7A92-660A-92D6BE86E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1/29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26D878-79F4-6514-6CF3-CEA37D492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F76A10-68F7-2FA7-E8E4-381A5142B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8C3A6-DEB3-913F-D251-933628265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92A17B-7B2B-A857-A5DB-5F435520CD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3E97A4-3C78-A693-98B2-E4B603C116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C54BE6-B2D0-9183-4509-CFF9CA56EF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1/29/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559C4E-554A-779A-7AFA-792F2D839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671B8A-A374-F921-F7D8-B1DB05443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2004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047EBF-11B9-5BDF-A4C2-3D92DEBF1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44011C-C123-95DD-283A-041DFC5C65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212D45-5800-80D9-FE44-6CC193C8DF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0F963-FCEE-E625-6CA3-C4F81F5667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FAB9EA-EA2B-0C8C-71D8-83732F1528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F8AC402-75E8-EF28-BE4C-49B1EB44F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1/29/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4DAA23-387E-C3E3-2C70-5756AEFE1C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0430D9-1EC5-80E2-B90F-64824627C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388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86FDE-E248-44B1-F998-495E40DF8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B4D8E7-ED5A-47C4-E16B-FACE6D2DAC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1/29/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91F43D-8D95-8DA6-28DF-0E35B4F0E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701358-80D7-91F9-BBBB-5984732463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6601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49EEF4-0A02-EE33-50E9-5FE949E455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1/29/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5D9A74-D0F4-2107-25D5-E070B57C5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5B189F-C428-6708-8D56-B11A992F8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3190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B37A1-27B6-AD8F-E26E-CD5898589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285A4A-9210-613E-1F56-3730A64660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565555-C490-D184-2444-064B9F4AB3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44A7F2-A0C3-0B45-F436-5A9D8ED5D6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1/29/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AAD6F7-138A-AFD1-9AD9-2F5ED45B1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5E20D7-B9D7-3197-FFB4-D01993801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3192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13B952-7AC1-5911-5429-0F8BDCB0D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9450F9-3F7F-065D-2A28-A3C0519F11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332368-60E0-4864-84E0-EADB31FACA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F0A0D5-D558-58AD-280E-0DBE118BD5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1/29/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5682A2-7CC1-0A38-4FEB-469630AC3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88DB44-7013-46DE-83F0-A3FC9EFBC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3581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896DBAC-1D77-2B9F-6D46-5767491BB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296013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7F5BB54-F2EB-CBFC-4937-0B3FE9136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45D0AE-EAF7-04FA-0E43-8FAB898E75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54D0B7-082C-8CD7-9CDF-F3336EC235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9BF4F2-DC52-B843-9495-7535C0DE495D}" type="datetimeFigureOut">
              <a:rPr lang="en-US" smtClean="0"/>
              <a:t>1/29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73A14B-4751-B7AA-DBAC-30D7DFFC65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765BA2-492C-7B30-59D3-C8DB4C2F88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57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8.svg"/></Relationships>
</file>

<file path=ppt/slides/_rels/slide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38.svg"/><Relationship Id="rId7" Type="http://schemas.openxmlformats.org/officeDocument/2006/relationships/image" Target="../media/image4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5" Type="http://schemas.openxmlformats.org/officeDocument/2006/relationships/image" Target="../media/image40.svg"/><Relationship Id="rId10" Type="http://schemas.openxmlformats.org/officeDocument/2006/relationships/image" Target="../media/image54.svg"/><Relationship Id="rId4" Type="http://schemas.openxmlformats.org/officeDocument/2006/relationships/image" Target="../media/image39.png"/><Relationship Id="rId9" Type="http://schemas.openxmlformats.org/officeDocument/2006/relationships/image" Target="../media/image53.png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38.svg"/><Relationship Id="rId7" Type="http://schemas.openxmlformats.org/officeDocument/2006/relationships/image" Target="../media/image4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5" Type="http://schemas.openxmlformats.org/officeDocument/2006/relationships/image" Target="../media/image40.svg"/><Relationship Id="rId10" Type="http://schemas.openxmlformats.org/officeDocument/2006/relationships/image" Target="../media/image54.svg"/><Relationship Id="rId4" Type="http://schemas.openxmlformats.org/officeDocument/2006/relationships/image" Target="../media/image39.png"/><Relationship Id="rId9" Type="http://schemas.openxmlformats.org/officeDocument/2006/relationships/image" Target="../media/image53.png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38.svg"/><Relationship Id="rId7" Type="http://schemas.openxmlformats.org/officeDocument/2006/relationships/image" Target="../media/image48.svg"/><Relationship Id="rId12" Type="http://schemas.openxmlformats.org/officeDocument/2006/relationships/image" Target="../media/image57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11" Type="http://schemas.openxmlformats.org/officeDocument/2006/relationships/image" Target="../media/image56.png"/><Relationship Id="rId5" Type="http://schemas.openxmlformats.org/officeDocument/2006/relationships/image" Target="../media/image40.svg"/><Relationship Id="rId10" Type="http://schemas.openxmlformats.org/officeDocument/2006/relationships/image" Target="../media/image54.svg"/><Relationship Id="rId4" Type="http://schemas.openxmlformats.org/officeDocument/2006/relationships/image" Target="../media/image39.png"/><Relationship Id="rId9" Type="http://schemas.openxmlformats.org/officeDocument/2006/relationships/image" Target="../media/image53.png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38.svg"/><Relationship Id="rId7" Type="http://schemas.openxmlformats.org/officeDocument/2006/relationships/image" Target="../media/image48.svg"/><Relationship Id="rId12" Type="http://schemas.openxmlformats.org/officeDocument/2006/relationships/image" Target="../media/image57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11" Type="http://schemas.openxmlformats.org/officeDocument/2006/relationships/image" Target="../media/image56.png"/><Relationship Id="rId5" Type="http://schemas.openxmlformats.org/officeDocument/2006/relationships/image" Target="../media/image40.svg"/><Relationship Id="rId10" Type="http://schemas.openxmlformats.org/officeDocument/2006/relationships/image" Target="../media/image54.svg"/><Relationship Id="rId4" Type="http://schemas.openxmlformats.org/officeDocument/2006/relationships/image" Target="../media/image39.png"/><Relationship Id="rId9" Type="http://schemas.openxmlformats.org/officeDocument/2006/relationships/image" Target="../media/image5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38.svg"/><Relationship Id="rId7" Type="http://schemas.openxmlformats.org/officeDocument/2006/relationships/image" Target="../media/image48.svg"/><Relationship Id="rId12" Type="http://schemas.openxmlformats.org/officeDocument/2006/relationships/image" Target="../media/image57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11" Type="http://schemas.openxmlformats.org/officeDocument/2006/relationships/image" Target="../media/image56.png"/><Relationship Id="rId5" Type="http://schemas.openxmlformats.org/officeDocument/2006/relationships/image" Target="../media/image40.svg"/><Relationship Id="rId10" Type="http://schemas.openxmlformats.org/officeDocument/2006/relationships/image" Target="../media/image54.svg"/><Relationship Id="rId4" Type="http://schemas.openxmlformats.org/officeDocument/2006/relationships/image" Target="../media/image39.png"/><Relationship Id="rId9" Type="http://schemas.openxmlformats.org/officeDocument/2006/relationships/image" Target="../media/image53.png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9.svg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Lmn7@duke.edu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image" Target="../media/image32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5" Type="http://schemas.openxmlformats.org/officeDocument/2006/relationships/image" Target="../media/image43.png"/><Relationship Id="rId4" Type="http://schemas.openxmlformats.org/officeDocument/2006/relationships/image" Target="../media/image42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7" Type="http://schemas.openxmlformats.org/officeDocument/2006/relationships/image" Target="../media/image46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1.png"/></Relationships>
</file>

<file path=ppt/slides/_rels/slide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38.svg"/><Relationship Id="rId7" Type="http://schemas.openxmlformats.org/officeDocument/2006/relationships/image" Target="../media/image4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38.svg"/><Relationship Id="rId7" Type="http://schemas.openxmlformats.org/officeDocument/2006/relationships/image" Target="../media/image4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9D27407-ECDA-C483-53DC-8888CDF0C464}"/>
              </a:ext>
            </a:extLst>
          </p:cNvPr>
          <p:cNvSpPr txBox="1"/>
          <p:nvPr/>
        </p:nvSpPr>
        <p:spPr>
          <a:xfrm>
            <a:off x="926123" y="1101969"/>
            <a:ext cx="1058593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trike="sngStrike" dirty="0"/>
              <a:t>-Fix code on color scale slide</a:t>
            </a:r>
          </a:p>
          <a:p>
            <a:r>
              <a:rPr lang="en-US" dirty="0"/>
              <a:t>-add explicit x/y/mapping to </a:t>
            </a:r>
            <a:r>
              <a:rPr lang="en-US" dirty="0" err="1"/>
              <a:t>grammer</a:t>
            </a:r>
            <a:r>
              <a:rPr lang="en-US" dirty="0"/>
              <a:t> slide</a:t>
            </a:r>
          </a:p>
          <a:p>
            <a:r>
              <a:rPr lang="en-US" dirty="0"/>
              <a:t>-Sequencing: -geometries don’t interact or impact each other, scales have global changes</a:t>
            </a:r>
          </a:p>
          <a:p>
            <a:endParaRPr lang="en-US" dirty="0"/>
          </a:p>
          <a:p>
            <a:r>
              <a:rPr lang="en-US" dirty="0"/>
              <a:t>-Be more careful when you say “x” axis and “y axis”</a:t>
            </a:r>
          </a:p>
          <a:p>
            <a:r>
              <a:rPr lang="en-US" dirty="0"/>
              <a:t>-GDP: is it log transformed or log10 transformed? do you need exp() or some other function to transform?</a:t>
            </a:r>
          </a:p>
          <a:p>
            <a:endParaRPr lang="en-US" dirty="0"/>
          </a:p>
          <a:p>
            <a:r>
              <a:rPr lang="en-US" dirty="0"/>
              <a:t>-Change sorting in </a:t>
            </a:r>
            <a:r>
              <a:rPr lang="en-US" dirty="0" err="1"/>
              <a:t>excersise</a:t>
            </a:r>
            <a:r>
              <a:rPr lang="en-US" dirty="0"/>
              <a:t> to median (instead of mean)</a:t>
            </a:r>
          </a:p>
          <a:p>
            <a:r>
              <a:rPr lang="en-US" dirty="0"/>
              <a:t>-</a:t>
            </a:r>
            <a:r>
              <a:rPr lang="en-US" dirty="0" err="1"/>
              <a:t>scale_fill_manual</a:t>
            </a:r>
            <a:r>
              <a:rPr lang="en-US" dirty="0"/>
              <a:t> is is “values” instead of “value”</a:t>
            </a:r>
          </a:p>
          <a:p>
            <a:endParaRPr lang="en-US" dirty="0"/>
          </a:p>
          <a:p>
            <a:r>
              <a:rPr lang="en-US" dirty="0"/>
              <a:t>-keep bar plot, but calculate the count using </a:t>
            </a:r>
            <a:r>
              <a:rPr lang="en-US" dirty="0" err="1"/>
              <a:t>dplyr</a:t>
            </a:r>
            <a:r>
              <a:rPr lang="en-US" dirty="0"/>
              <a:t> beforehand, both to show them how that works, and also to avoid having to talk through stats</a:t>
            </a:r>
          </a:p>
        </p:txBody>
      </p:sp>
    </p:spTree>
    <p:extLst>
      <p:ext uri="{BB962C8B-B14F-4D97-AF65-F5344CB8AC3E}">
        <p14:creationId xmlns:p14="http://schemas.microsoft.com/office/powerpoint/2010/main" val="26201398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3B722AC-82B7-9A87-32BB-3B1B867CC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3582" y="0"/>
            <a:ext cx="51514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B12AEA-609D-54F4-418C-8393A6833C9A}"/>
              </a:ext>
            </a:extLst>
          </p:cNvPr>
          <p:cNvSpPr txBox="1"/>
          <p:nvPr/>
        </p:nvSpPr>
        <p:spPr>
          <a:xfrm>
            <a:off x="9197591" y="6560427"/>
            <a:ext cx="29944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ithub.com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joseph-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haw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idytuesday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699456599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588491-902C-575D-F7F6-8C65D8740E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23F93EA-1767-3BAA-822A-A83864CC1F03}"/>
              </a:ext>
            </a:extLst>
          </p:cNvPr>
          <p:cNvSpPr/>
          <p:nvPr/>
        </p:nvSpPr>
        <p:spPr>
          <a:xfrm>
            <a:off x="314793" y="1063049"/>
            <a:ext cx="5745402" cy="4716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8D0A0FE-EC82-04B2-4935-FCAD5E527107}"/>
              </a:ext>
            </a:extLst>
          </p:cNvPr>
          <p:cNvSpPr txBox="1"/>
          <p:nvPr/>
        </p:nvSpPr>
        <p:spPr>
          <a:xfrm>
            <a:off x="425155" y="1489767"/>
            <a:ext cx="5767043" cy="41970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, n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col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fill=continent=="Asia"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scale_fill_</a:t>
            </a:r>
            <a:r>
              <a:rPr lang="en-US" b="1" dirty="0" err="1">
                <a:latin typeface="Monaco" pitchFamily="2" charset="77"/>
              </a:rPr>
              <a:t>manual</a:t>
            </a:r>
            <a:r>
              <a:rPr lang="en-US" b="1" dirty="0">
                <a:latin typeface="Monaco" pitchFamily="2" charset="77"/>
              </a:rPr>
              <a:t>(values = </a:t>
            </a:r>
            <a:r>
              <a:rPr lang="en-US" b="1" dirty="0" err="1">
                <a:latin typeface="Monaco" pitchFamily="2" charset="77"/>
              </a:rPr>
              <a:t>DukeColors</a:t>
            </a:r>
            <a:r>
              <a:rPr lang="en-US" b="1" dirty="0">
                <a:latin typeface="Monaco" pitchFamily="2" charset="77"/>
              </a:rPr>
              <a:t>)</a:t>
            </a: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2D8293-D204-D35A-6BD0-0554984621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354" y="1246032"/>
            <a:ext cx="4924627" cy="73386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17EA89-1F7E-C471-914B-B72E2F1A03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55959" y="1657964"/>
            <a:ext cx="5721247" cy="4716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523473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14F54F-3F5C-412D-F82D-440C4568CE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E16C322-70F9-23A9-700F-EBBA88FAFE74}"/>
              </a:ext>
            </a:extLst>
          </p:cNvPr>
          <p:cNvSpPr/>
          <p:nvPr/>
        </p:nvSpPr>
        <p:spPr>
          <a:xfrm>
            <a:off x="314793" y="1063049"/>
            <a:ext cx="5745402" cy="4716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4BA84FF-B7DB-3141-0969-8E6E0303D7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1657966"/>
            <a:ext cx="5517200" cy="45479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C6D88CC-F5E1-A64D-DE84-C1CEEF06E13F}"/>
              </a:ext>
            </a:extLst>
          </p:cNvPr>
          <p:cNvSpPr txBox="1"/>
          <p:nvPr/>
        </p:nvSpPr>
        <p:spPr>
          <a:xfrm>
            <a:off x="425155" y="1489767"/>
            <a:ext cx="5767043" cy="41970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, n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col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fill=continent=="Asia"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scale_fill_</a:t>
            </a:r>
            <a:r>
              <a:rPr lang="en-US" b="1" dirty="0" err="1">
                <a:latin typeface="Monaco" pitchFamily="2" charset="77"/>
              </a:rPr>
              <a:t>manual</a:t>
            </a:r>
            <a:r>
              <a:rPr lang="en-US" b="1" dirty="0">
                <a:latin typeface="Monaco" pitchFamily="2" charset="77"/>
              </a:rPr>
              <a:t>(values = </a:t>
            </a:r>
            <a:r>
              <a:rPr lang="en-US" b="1" dirty="0" err="1">
                <a:latin typeface="Monaco" pitchFamily="2" charset="77"/>
              </a:rPr>
              <a:t>DukeColors</a:t>
            </a:r>
            <a:r>
              <a:rPr lang="en-US" b="1" dirty="0">
                <a:latin typeface="Monaco" pitchFamily="2" charset="77"/>
              </a:rPr>
              <a:t>)</a:t>
            </a: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06EA966-66DF-B83A-6572-462869E128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1" y="1657966"/>
            <a:ext cx="5517199" cy="4547961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4EE6702E-F9FC-B7CF-974A-5C28321DEA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55959" y="1657964"/>
            <a:ext cx="5721247" cy="47161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C29DC9E-4D69-3C10-C0A1-B3085B39E49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6354" y="1246032"/>
            <a:ext cx="4924627" cy="73386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6BA07F92-CA7B-7481-5E3D-4DED27BCF04F}"/>
              </a:ext>
            </a:extLst>
          </p:cNvPr>
          <p:cNvGrpSpPr/>
          <p:nvPr/>
        </p:nvGrpSpPr>
        <p:grpSpPr>
          <a:xfrm>
            <a:off x="5087094" y="879099"/>
            <a:ext cx="929391" cy="733866"/>
            <a:chOff x="4886793" y="1724521"/>
            <a:chExt cx="929391" cy="733866"/>
          </a:xfrm>
        </p:grpSpPr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172581FE-0336-9986-0A04-B5F002D35D63}"/>
                </a:ext>
              </a:extLst>
            </p:cNvPr>
            <p:cNvSpPr/>
            <p:nvPr/>
          </p:nvSpPr>
          <p:spPr>
            <a:xfrm>
              <a:off x="4886793" y="1724521"/>
              <a:ext cx="929391" cy="733866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riangle 6">
              <a:extLst>
                <a:ext uri="{FF2B5EF4-FFF2-40B4-BE49-F238E27FC236}">
                  <a16:creationId xmlns:a16="http://schemas.microsoft.com/office/drawing/2014/main" id="{EC3D3CEC-61AF-485D-6D46-D4D353863D75}"/>
                </a:ext>
              </a:extLst>
            </p:cNvPr>
            <p:cNvSpPr/>
            <p:nvPr/>
          </p:nvSpPr>
          <p:spPr>
            <a:xfrm rot="5400000">
              <a:off x="5181804" y="1928444"/>
              <a:ext cx="418354" cy="326020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80BB31ED-448D-96CC-AAE8-9059A690A53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31807" y="1696286"/>
            <a:ext cx="6027569" cy="463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55142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C75DB4-A18D-9F9D-83E4-DF854436FA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B886CA1B-683C-3E4B-5DF5-351F69FD1724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10246CC-3EE6-DE61-12CD-51D0F2244BE0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89D2BAA-E6EE-58F7-8E99-66F04BE56378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C1CAA3-D412-7F83-6D06-2FEF12A9CEF8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BFBDB00-4913-0E8F-728B-C9D2FEF5B772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A32F23F-7774-C3C4-5EF3-C2EED994C300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B33B926E-9E7C-DF26-5BAD-35953DB86F3F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C20820-7904-11DB-B659-12064791259D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5737AF69-53B9-FAD3-C78A-FC6CF63DF05D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91A5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D61BEEE7-7C76-6523-A74C-F032E987A2CF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C4ECC5F6-F217-D628-61E4-762BF7D0EACF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arallelogram 21">
            <a:extLst>
              <a:ext uri="{FF2B5EF4-FFF2-40B4-BE49-F238E27FC236}">
                <a16:creationId xmlns:a16="http://schemas.microsoft.com/office/drawing/2014/main" id="{715AD887-C139-C206-E01D-B5E261E23523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4FB942C3-FBCA-0D5D-8819-63B0594BEB18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arallelogram 23">
            <a:extLst>
              <a:ext uri="{FF2B5EF4-FFF2-40B4-BE49-F238E27FC236}">
                <a16:creationId xmlns:a16="http://schemas.microsoft.com/office/drawing/2014/main" id="{8B1A7165-212A-E1E5-F209-EEF9058B1A1D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086372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EBBA86-CD8B-A51A-80CF-293AC347A9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ABC21443-8699-5420-9144-7AB6398F5CC6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D25B665-073A-8C77-41BA-93B0F5A615A9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CFB10E0-4EF3-EC10-5ED4-881CFAE59A8D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6BF5D65-1410-CA83-8694-A4071546673C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DAEF1E2-D08E-4B5B-3D85-AA7DAE745CE7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55F1104-679F-A32B-F24E-BF84CE894494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A9E92988-BD3E-B1BA-40DA-EC508D6B035C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959975B-CE2B-01AB-4C91-69731CBC87A6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2466296-A412-E96E-35E9-83C23D26142B}"/>
              </a:ext>
            </a:extLst>
          </p:cNvPr>
          <p:cNvSpPr txBox="1"/>
          <p:nvPr/>
        </p:nvSpPr>
        <p:spPr>
          <a:xfrm>
            <a:off x="901874" y="450937"/>
            <a:ext cx="559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60 preexisting theme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easy to call</a:t>
            </a:r>
          </a:p>
        </p:txBody>
      </p:sp>
      <p:pic>
        <p:nvPicPr>
          <p:cNvPr id="8" name="Picture 7" descr="A collage of graphs&#10;&#10;Description automatically generated">
            <a:extLst>
              <a:ext uri="{FF2B5EF4-FFF2-40B4-BE49-F238E27FC236}">
                <a16:creationId xmlns:a16="http://schemas.microsoft.com/office/drawing/2014/main" id="{CD8DA0D7-30D9-CA45-8481-D0E9B3BECF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0" y="0"/>
            <a:ext cx="7262054" cy="685800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74F05E1-7C80-C2A5-9545-AA71B979EB9A}"/>
              </a:ext>
            </a:extLst>
          </p:cNvPr>
          <p:cNvSpPr/>
          <p:nvPr/>
        </p:nvSpPr>
        <p:spPr>
          <a:xfrm>
            <a:off x="8450" y="2072640"/>
            <a:ext cx="2551870" cy="2575560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51A740C-D257-9218-EEF5-C23512D09CB4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91A5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D450655B-285B-9D61-891B-EDE2536613B5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69F98948-DC7C-13E5-8BE8-C11839458864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arallelogram 21">
            <a:extLst>
              <a:ext uri="{FF2B5EF4-FFF2-40B4-BE49-F238E27FC236}">
                <a16:creationId xmlns:a16="http://schemas.microsoft.com/office/drawing/2014/main" id="{02E83091-E7DF-5FFF-4C38-D0EC6890677F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B5BB91DD-A7AE-F343-E75E-5DCD76A5C747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arallelogram 23">
            <a:extLst>
              <a:ext uri="{FF2B5EF4-FFF2-40B4-BE49-F238E27FC236}">
                <a16:creationId xmlns:a16="http://schemas.microsoft.com/office/drawing/2014/main" id="{23E4ED89-2EB6-29DE-011C-6D2751AE5698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271376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1ABEFF-1B70-AD33-A77D-961BF594EC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B02AD-EE5A-7A9A-BEE1-BB498CBC28F4}"/>
              </a:ext>
            </a:extLst>
          </p:cNvPr>
          <p:cNvSpPr/>
          <p:nvPr/>
        </p:nvSpPr>
        <p:spPr>
          <a:xfrm>
            <a:off x="314793" y="1063049"/>
            <a:ext cx="5745402" cy="4716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E274BEA-D7E0-D4F3-5849-BE2A20756B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1657966"/>
            <a:ext cx="5517200" cy="45479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0AE27F5-DC98-A606-E7B3-589339C07E35}"/>
              </a:ext>
            </a:extLst>
          </p:cNvPr>
          <p:cNvSpPr txBox="1"/>
          <p:nvPr/>
        </p:nvSpPr>
        <p:spPr>
          <a:xfrm>
            <a:off x="425155" y="1489767"/>
            <a:ext cx="5767043" cy="4612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, n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col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fill=continent=="Asia"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scale_fill_manual</a:t>
            </a:r>
            <a:r>
              <a:rPr lang="en-US" dirty="0">
                <a:latin typeface="Monaco" pitchFamily="2" charset="77"/>
              </a:rPr>
              <a:t>(value = </a:t>
            </a:r>
            <a:r>
              <a:rPr lang="en-US" dirty="0" err="1">
                <a:latin typeface="Monaco" pitchFamily="2" charset="77"/>
              </a:rPr>
              <a:t>DukeColors</a:t>
            </a:r>
            <a:r>
              <a:rPr lang="en-US" dirty="0">
                <a:latin typeface="Monaco" pitchFamily="2" charset="77"/>
              </a:rPr>
              <a:t>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b="1" dirty="0" err="1">
                <a:latin typeface="Monaco" pitchFamily="2" charset="77"/>
              </a:rPr>
              <a:t>theme_minimal</a:t>
            </a:r>
            <a:r>
              <a:rPr lang="en-US" b="1" dirty="0">
                <a:latin typeface="Monaco" pitchFamily="2" charset="77"/>
              </a:rPr>
              <a:t>()</a:t>
            </a: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032DB43-7A28-EE7F-AF97-D61EDFC681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1" y="1657966"/>
            <a:ext cx="5517199" cy="4547961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0AF30CBC-A011-09CF-88F3-B7B235EA13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55959" y="1657964"/>
            <a:ext cx="5721247" cy="47161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52B3E5A-F61E-62EB-C3E8-3620BA160DD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6354" y="1246032"/>
            <a:ext cx="4924627" cy="733866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D5E5DF1E-D8E9-F024-7CBC-A1BB33C92D9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31807" y="1546763"/>
            <a:ext cx="6172039" cy="475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777424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C6241B-A717-E881-6510-45C3AAE7CC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7BC2A0B-B74C-C6EC-0016-3EB2B8598552}"/>
              </a:ext>
            </a:extLst>
          </p:cNvPr>
          <p:cNvSpPr/>
          <p:nvPr/>
        </p:nvSpPr>
        <p:spPr>
          <a:xfrm>
            <a:off x="314793" y="1063049"/>
            <a:ext cx="5745402" cy="4716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DCE02BF-79C2-2DD1-1742-4F2EEE4D6D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1657966"/>
            <a:ext cx="5517200" cy="45479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9D426BD-82CE-8719-F808-44D999DDFC81}"/>
              </a:ext>
            </a:extLst>
          </p:cNvPr>
          <p:cNvSpPr txBox="1"/>
          <p:nvPr/>
        </p:nvSpPr>
        <p:spPr>
          <a:xfrm>
            <a:off x="425155" y="1489767"/>
            <a:ext cx="5767043" cy="50280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, n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col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fill=continent=="Asia"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scale_fill_manual</a:t>
            </a:r>
            <a:r>
              <a:rPr lang="en-US" dirty="0">
                <a:latin typeface="Monaco" pitchFamily="2" charset="77"/>
              </a:rPr>
              <a:t>(value = </a:t>
            </a:r>
            <a:r>
              <a:rPr lang="en-US" dirty="0" err="1">
                <a:latin typeface="Monaco" pitchFamily="2" charset="77"/>
              </a:rPr>
              <a:t>DukeColors</a:t>
            </a:r>
            <a:r>
              <a:rPr lang="en-US" dirty="0">
                <a:latin typeface="Monaco" pitchFamily="2" charset="77"/>
              </a:rPr>
              <a:t>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b="1" dirty="0" err="1">
                <a:latin typeface="Monaco" pitchFamily="2" charset="77"/>
              </a:rPr>
              <a:t>theme_minimal</a:t>
            </a:r>
            <a:r>
              <a:rPr lang="en-US" b="1" dirty="0">
                <a:latin typeface="Monaco" pitchFamily="2" charset="77"/>
              </a:rPr>
              <a:t>()</a:t>
            </a: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A87EE5B-BAEB-8ED4-E5C0-480232012E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1" y="1657966"/>
            <a:ext cx="5517199" cy="4547961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804CE6F6-A62F-980A-1780-B1150ED38F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55959" y="1657964"/>
            <a:ext cx="5721247" cy="47161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1B77FE3-EE3F-0F52-FA6A-14CD00A8973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6354" y="1246032"/>
            <a:ext cx="4924627" cy="73386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9B150FD-1049-0CE6-AC8B-21FB755E1018}"/>
              </a:ext>
            </a:extLst>
          </p:cNvPr>
          <p:cNvGrpSpPr/>
          <p:nvPr/>
        </p:nvGrpSpPr>
        <p:grpSpPr>
          <a:xfrm>
            <a:off x="5087094" y="879099"/>
            <a:ext cx="929391" cy="733866"/>
            <a:chOff x="4886793" y="1724521"/>
            <a:chExt cx="929391" cy="733866"/>
          </a:xfrm>
        </p:grpSpPr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06E6F97D-51B5-C3CC-B81C-9B32976E527E}"/>
                </a:ext>
              </a:extLst>
            </p:cNvPr>
            <p:cNvSpPr/>
            <p:nvPr/>
          </p:nvSpPr>
          <p:spPr>
            <a:xfrm>
              <a:off x="4886793" y="1724521"/>
              <a:ext cx="929391" cy="733866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riangle 6">
              <a:extLst>
                <a:ext uri="{FF2B5EF4-FFF2-40B4-BE49-F238E27FC236}">
                  <a16:creationId xmlns:a16="http://schemas.microsoft.com/office/drawing/2014/main" id="{86BC5B14-AE26-B2F6-EDDE-70E656A49564}"/>
                </a:ext>
              </a:extLst>
            </p:cNvPr>
            <p:cNvSpPr/>
            <p:nvPr/>
          </p:nvSpPr>
          <p:spPr>
            <a:xfrm rot="5400000">
              <a:off x="5181804" y="1928444"/>
              <a:ext cx="418354" cy="326020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E75E0A69-41E1-8E8C-88B1-96C7B04BFD7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31807" y="1546763"/>
            <a:ext cx="6172039" cy="4750718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91BCA948-8B1E-44B8-CC18-5FA95B126CE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66380" y="1593199"/>
            <a:ext cx="6127146" cy="4716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156376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148087-26A6-0107-E573-3A09706824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48CBE434-5245-76E2-F74B-F17ED5D6EAAC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8CEB55A-B97B-ED72-1F89-85DF1E082BF8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1084E22-C832-CD88-3F3D-A038F9EC72CF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E983C2A-CEB8-A3E7-7122-589D367E6D28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9A4202-C22A-F7D4-8B29-B79D3290ACBA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6C1EB8D-C068-A792-6729-B082D576D72A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62FA5255-49B2-6FFC-0903-11EF7333913E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1D618F-29B3-B71C-5A2C-9ED55FD32C58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A409E8-3C7B-C4D5-785D-44E46AEAE408}"/>
              </a:ext>
            </a:extLst>
          </p:cNvPr>
          <p:cNvSpPr txBox="1"/>
          <p:nvPr/>
        </p:nvSpPr>
        <p:spPr>
          <a:xfrm>
            <a:off x="901874" y="450937"/>
            <a:ext cx="559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60 preexisting theme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easy to call</a:t>
            </a:r>
          </a:p>
        </p:txBody>
      </p:sp>
      <p:pic>
        <p:nvPicPr>
          <p:cNvPr id="8" name="Picture 7" descr="A collage of graphs&#10;&#10;Description automatically generated">
            <a:extLst>
              <a:ext uri="{FF2B5EF4-FFF2-40B4-BE49-F238E27FC236}">
                <a16:creationId xmlns:a16="http://schemas.microsoft.com/office/drawing/2014/main" id="{DBA75133-8E78-405C-0DAB-976DBC992A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0" y="0"/>
            <a:ext cx="7262054" cy="6858000"/>
          </a:xfrm>
          <a:prstGeom prst="rect">
            <a:avLst/>
          </a:prstGeom>
        </p:spPr>
      </p:pic>
      <p:sp>
        <p:nvSpPr>
          <p:cNvPr id="6" name="Parallelogram 5">
            <a:extLst>
              <a:ext uri="{FF2B5EF4-FFF2-40B4-BE49-F238E27FC236}">
                <a16:creationId xmlns:a16="http://schemas.microsoft.com/office/drawing/2014/main" id="{7B8BDA6C-4D20-CEFE-2C80-9C57493B003D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91A5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1694118C-9A37-B96F-7A80-1484F1D153E6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D88B5BC2-7402-266B-0518-15F83309A14C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872E4618-3055-6D45-9451-42D3CC2558CA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arallelogram 21">
            <a:extLst>
              <a:ext uri="{FF2B5EF4-FFF2-40B4-BE49-F238E27FC236}">
                <a16:creationId xmlns:a16="http://schemas.microsoft.com/office/drawing/2014/main" id="{A70E20EF-57D1-436D-BDC2-440A7270BBB0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66AC745D-60E7-8290-8067-9E6A78ACB202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617424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577E77-8990-84DE-4D83-7953176BA4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04CE19B5-02AA-6D4D-A9A7-6B930FFE0DF1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528FB1-A288-6D90-05F1-98AFC9C35C36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45B0090-E2C2-5BC3-F04B-55E0D497F618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DC0F8B-39B7-5E0C-D93D-43CF3F0824EF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11AD2E8-C943-1DBA-757C-CB516716F2CD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D4F20A0-7099-1D60-246E-810030F85A59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EF054F5D-A406-134A-736D-D72A02DF6A7E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11E366-6515-7F33-1633-E7A961AE9DC1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50F63E3-FD37-C436-DCDF-B9F2D36A633D}"/>
              </a:ext>
            </a:extLst>
          </p:cNvPr>
          <p:cNvSpPr txBox="1"/>
          <p:nvPr/>
        </p:nvSpPr>
        <p:spPr>
          <a:xfrm>
            <a:off x="403796" y="347463"/>
            <a:ext cx="55991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Over 60 pre-existing them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808E3B-560E-5137-398D-7A3D88851C14}"/>
              </a:ext>
            </a:extLst>
          </p:cNvPr>
          <p:cNvSpPr txBox="1"/>
          <p:nvPr/>
        </p:nvSpPr>
        <p:spPr>
          <a:xfrm>
            <a:off x="1214754" y="6169613"/>
            <a:ext cx="5787295" cy="523220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r>
              <a:rPr lang="en-US" sz="2800" dirty="0"/>
              <a:t>https://r-</a:t>
            </a:r>
            <a:r>
              <a:rPr lang="en-US" sz="2800" dirty="0" err="1"/>
              <a:t>charts.com</a:t>
            </a:r>
            <a:r>
              <a:rPr lang="en-US" sz="2800" dirty="0"/>
              <a:t>/ggplot2/themes/</a:t>
            </a:r>
          </a:p>
        </p:txBody>
      </p:sp>
      <p:pic>
        <p:nvPicPr>
          <p:cNvPr id="15" name="Picture 14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5EB2DA4D-A6FF-498B-7CE9-BDC67325A2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3397" y="1134101"/>
            <a:ext cx="2320978" cy="2294900"/>
          </a:xfrm>
          <a:prstGeom prst="rect">
            <a:avLst/>
          </a:prstGeom>
          <a:ln>
            <a:noFill/>
          </a:ln>
        </p:spPr>
      </p:pic>
      <p:pic>
        <p:nvPicPr>
          <p:cNvPr id="23" name="Picture 22" descr="A graph of different colored lines&#10;&#10;Description automatically generated with medium confidence">
            <a:extLst>
              <a:ext uri="{FF2B5EF4-FFF2-40B4-BE49-F238E27FC236}">
                <a16:creationId xmlns:a16="http://schemas.microsoft.com/office/drawing/2014/main" id="{7786F9BB-8EF0-C24D-BD1B-8F0FB25A58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2395" y="3753974"/>
            <a:ext cx="2149944" cy="2156035"/>
          </a:xfrm>
          <a:prstGeom prst="rect">
            <a:avLst/>
          </a:prstGeom>
          <a:ln>
            <a:noFill/>
          </a:ln>
        </p:spPr>
      </p:pic>
      <p:pic>
        <p:nvPicPr>
          <p:cNvPr id="25" name="Picture 24" descr="A graph with different colored lines&#10;&#10;Description automatically generated">
            <a:extLst>
              <a:ext uri="{FF2B5EF4-FFF2-40B4-BE49-F238E27FC236}">
                <a16:creationId xmlns:a16="http://schemas.microsoft.com/office/drawing/2014/main" id="{0098451D-6F27-9120-D37E-4278A0ED34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0443" y="3753974"/>
            <a:ext cx="2213338" cy="2156035"/>
          </a:xfrm>
          <a:prstGeom prst="rect">
            <a:avLst/>
          </a:prstGeom>
          <a:ln>
            <a:noFill/>
          </a:ln>
        </p:spPr>
      </p:pic>
      <p:pic>
        <p:nvPicPr>
          <p:cNvPr id="27" name="Picture 26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301F5335-824D-28E0-10D9-7DFED99561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286"/>
          <a:stretch/>
        </p:blipFill>
        <p:spPr>
          <a:xfrm>
            <a:off x="2760443" y="1156419"/>
            <a:ext cx="2213338" cy="2323407"/>
          </a:xfrm>
          <a:prstGeom prst="rect">
            <a:avLst/>
          </a:prstGeom>
          <a:ln>
            <a:noFill/>
          </a:ln>
        </p:spPr>
      </p:pic>
      <p:pic>
        <p:nvPicPr>
          <p:cNvPr id="29" name="Picture 28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CD98C016-34A2-7491-141A-6538359144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5605" y="1156419"/>
            <a:ext cx="2316844" cy="2323407"/>
          </a:xfrm>
          <a:prstGeom prst="rect">
            <a:avLst/>
          </a:prstGeom>
          <a:ln>
            <a:noFill/>
          </a:ln>
        </p:spPr>
      </p:pic>
      <p:pic>
        <p:nvPicPr>
          <p:cNvPr id="31" name="Picture 30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56FCA257-D4D3-0DB2-B99D-2E3CD3BDBD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5605" y="3739430"/>
            <a:ext cx="2316844" cy="2170579"/>
          </a:xfrm>
          <a:prstGeom prst="rect">
            <a:avLst/>
          </a:prstGeom>
          <a:ln>
            <a:noFill/>
          </a:ln>
        </p:spPr>
      </p:pic>
      <p:sp>
        <p:nvSpPr>
          <p:cNvPr id="6" name="Parallelogram 5">
            <a:extLst>
              <a:ext uri="{FF2B5EF4-FFF2-40B4-BE49-F238E27FC236}">
                <a16:creationId xmlns:a16="http://schemas.microsoft.com/office/drawing/2014/main" id="{DB94D7F2-86CF-A9D9-FF15-78A479825BB0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91A5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C4F2FDAC-9B2B-6C00-29FE-199EDB763764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9EB248E7-D3AB-8791-7145-15BF581C696E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arallelogram 21">
            <a:extLst>
              <a:ext uri="{FF2B5EF4-FFF2-40B4-BE49-F238E27FC236}">
                <a16:creationId xmlns:a16="http://schemas.microsoft.com/office/drawing/2014/main" id="{D0FAA5B5-17BB-8553-E0ED-B1762951431B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arallelogram 23">
            <a:extLst>
              <a:ext uri="{FF2B5EF4-FFF2-40B4-BE49-F238E27FC236}">
                <a16:creationId xmlns:a16="http://schemas.microsoft.com/office/drawing/2014/main" id="{C061FF83-047D-F55B-C2E4-AA77A676E043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arallelogram 25">
            <a:extLst>
              <a:ext uri="{FF2B5EF4-FFF2-40B4-BE49-F238E27FC236}">
                <a16:creationId xmlns:a16="http://schemas.microsoft.com/office/drawing/2014/main" id="{4F2C2B78-DF1D-8CDD-C78B-FEB1CA977C44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058012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335DA861-1447-DEEE-A9E6-EE05BB207A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080" y="837711"/>
            <a:ext cx="3467100" cy="5499100"/>
          </a:xfrm>
          <a:prstGeom prst="rect">
            <a:avLst/>
          </a:prstGeom>
        </p:spPr>
      </p:pic>
      <p:pic>
        <p:nvPicPr>
          <p:cNvPr id="5" name="Picture 4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5D6A6B4E-D7F5-9AE8-5776-3FFBD8AE9E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0578" y="1107830"/>
            <a:ext cx="2671440" cy="5228981"/>
          </a:xfrm>
          <a:prstGeom prst="rect">
            <a:avLst/>
          </a:prstGeom>
        </p:spPr>
      </p:pic>
      <p:pic>
        <p:nvPicPr>
          <p:cNvPr id="7" name="Picture 6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19DDA5CF-CD43-23FE-018A-3E04D50811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8800" y="1125414"/>
            <a:ext cx="2309036" cy="5228982"/>
          </a:xfrm>
          <a:prstGeom prst="rect">
            <a:avLst/>
          </a:prstGeom>
        </p:spPr>
      </p:pic>
      <p:pic>
        <p:nvPicPr>
          <p:cNvPr id="9" name="Picture 8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C0719D7D-5546-9AB9-F313-9EB10B6CD6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62058" y="1125414"/>
            <a:ext cx="2377726" cy="522898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C055E64-1C9F-8EEE-9CAC-47F893D989B4}"/>
              </a:ext>
            </a:extLst>
          </p:cNvPr>
          <p:cNvSpPr txBox="1"/>
          <p:nvPr/>
        </p:nvSpPr>
        <p:spPr>
          <a:xfrm>
            <a:off x="441080" y="175846"/>
            <a:ext cx="38847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Monaco" pitchFamily="2" charset="77"/>
              </a:rPr>
              <a:t>?theme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C8712D-402A-BE34-D37C-39C265D50A05}"/>
              </a:ext>
            </a:extLst>
          </p:cNvPr>
          <p:cNvSpPr txBox="1"/>
          <p:nvPr/>
        </p:nvSpPr>
        <p:spPr>
          <a:xfrm>
            <a:off x="10592681" y="6062008"/>
            <a:ext cx="9715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Monaco" pitchFamily="2" charset="77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513262381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19538E-1263-86CF-BCB8-8C71D1169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F4267C8-CBCB-731A-4120-E7ECA63012DE}"/>
              </a:ext>
            </a:extLst>
          </p:cNvPr>
          <p:cNvSpPr/>
          <p:nvPr/>
        </p:nvSpPr>
        <p:spPr>
          <a:xfrm>
            <a:off x="314793" y="748259"/>
            <a:ext cx="5745402" cy="59373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DF9A569-8986-5601-4243-E7FEA5ACA8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1657966"/>
            <a:ext cx="5517200" cy="45479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A0D40AC-9873-233F-B2E0-E379E6D60F7A}"/>
              </a:ext>
            </a:extLst>
          </p:cNvPr>
          <p:cNvSpPr txBox="1"/>
          <p:nvPr/>
        </p:nvSpPr>
        <p:spPr>
          <a:xfrm>
            <a:off x="425155" y="1174977"/>
            <a:ext cx="6964996" cy="37833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, n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col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fill=continent=="Asia"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scale_fill_manual</a:t>
            </a:r>
            <a:r>
              <a:rPr lang="en-US" dirty="0">
                <a:latin typeface="Monaco" pitchFamily="2" charset="77"/>
              </a:rPr>
              <a:t>(value = </a:t>
            </a:r>
            <a:r>
              <a:rPr lang="en-US" dirty="0" err="1">
                <a:latin typeface="Monaco" pitchFamily="2" charset="77"/>
              </a:rPr>
              <a:t>DukeColors</a:t>
            </a:r>
            <a:r>
              <a:rPr lang="en-US" dirty="0">
                <a:latin typeface="Monaco" pitchFamily="2" charset="77"/>
              </a:rPr>
              <a:t>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b="1" dirty="0" err="1">
                <a:latin typeface="Monaco" pitchFamily="2" charset="77"/>
              </a:rPr>
              <a:t>theme_minimal</a:t>
            </a:r>
            <a:r>
              <a:rPr lang="en-US" b="1" dirty="0">
                <a:latin typeface="Monaco" pitchFamily="2" charset="77"/>
              </a:rPr>
              <a:t>()</a:t>
            </a:r>
            <a:endParaRPr lang="en-US" dirty="0">
              <a:latin typeface="Monaco" pitchFamily="2" charset="77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8F7E60C-CCDA-BD13-4E82-DC75B8362D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1" y="1657966"/>
            <a:ext cx="5517199" cy="4547961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F1435985-4421-FDB1-15A7-34DD26A1E0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55959" y="1657964"/>
            <a:ext cx="5721247" cy="47161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E4185D1-3A4F-7F2D-7D02-9F70C38393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6354" y="931242"/>
            <a:ext cx="4924627" cy="733866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E44E96C0-51FA-B9F5-0C20-7F05E1BF564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31807" y="1546763"/>
            <a:ext cx="6172039" cy="4750718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FB4CA17D-5C9D-F62D-4BB5-7FA1E0F1598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66380" y="1593199"/>
            <a:ext cx="6127146" cy="4716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0044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3B722AC-82B7-9A87-32BB-3B1B867CC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70" y="20408"/>
            <a:ext cx="51514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B12AEA-609D-54F4-418C-8393A6833C9A}"/>
              </a:ext>
            </a:extLst>
          </p:cNvPr>
          <p:cNvSpPr txBox="1"/>
          <p:nvPr/>
        </p:nvSpPr>
        <p:spPr>
          <a:xfrm>
            <a:off x="9197591" y="6560427"/>
            <a:ext cx="29944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ithub.com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joseph-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haw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idytuesday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4FE112D-8128-B729-CB13-F07F8702A137}"/>
              </a:ext>
            </a:extLst>
          </p:cNvPr>
          <p:cNvSpPr/>
          <p:nvPr/>
        </p:nvSpPr>
        <p:spPr>
          <a:xfrm>
            <a:off x="42970" y="20408"/>
            <a:ext cx="5151436" cy="1958704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0E6992-BBA6-A77B-24F6-79A245F93289}"/>
              </a:ext>
            </a:extLst>
          </p:cNvPr>
          <p:cNvSpPr/>
          <p:nvPr/>
        </p:nvSpPr>
        <p:spPr>
          <a:xfrm>
            <a:off x="30069" y="3870542"/>
            <a:ext cx="5151437" cy="301806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6256285-20E4-9437-917A-72334DD63F60}"/>
              </a:ext>
            </a:extLst>
          </p:cNvPr>
          <p:cNvSpPr/>
          <p:nvPr/>
        </p:nvSpPr>
        <p:spPr>
          <a:xfrm>
            <a:off x="30070" y="1979112"/>
            <a:ext cx="2512714" cy="189142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304873A-63C4-4200-526E-EB88370B35E6}"/>
              </a:ext>
            </a:extLst>
          </p:cNvPr>
          <p:cNvSpPr/>
          <p:nvPr/>
        </p:nvSpPr>
        <p:spPr>
          <a:xfrm>
            <a:off x="4434777" y="1979111"/>
            <a:ext cx="746729" cy="189142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994F1C3-193F-3BAC-164F-CA5BBC1B46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0" t="29623" r="12512" b="43345"/>
          <a:stretch/>
        </p:blipFill>
        <p:spPr bwMode="auto">
          <a:xfrm>
            <a:off x="5207306" y="163648"/>
            <a:ext cx="6106538" cy="5848036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270657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CE8980-739D-8BA7-2BE9-4FBE4D170E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D52E975-0DB4-FDE7-C100-0F69910F1DF1}"/>
              </a:ext>
            </a:extLst>
          </p:cNvPr>
          <p:cNvSpPr/>
          <p:nvPr/>
        </p:nvSpPr>
        <p:spPr>
          <a:xfrm>
            <a:off x="314793" y="748259"/>
            <a:ext cx="5745402" cy="59373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04741CC-A253-2C30-3B99-A5164F33AD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1657966"/>
            <a:ext cx="5517200" cy="45479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5F20542-0288-63E1-596C-31C13B0B5A84}"/>
              </a:ext>
            </a:extLst>
          </p:cNvPr>
          <p:cNvSpPr txBox="1"/>
          <p:nvPr/>
        </p:nvSpPr>
        <p:spPr>
          <a:xfrm>
            <a:off x="425155" y="1174977"/>
            <a:ext cx="6964996" cy="57890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, n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col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fill=continent=="Asia"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scale_fill_manual</a:t>
            </a:r>
            <a:r>
              <a:rPr lang="en-US" dirty="0">
                <a:latin typeface="Monaco" pitchFamily="2" charset="77"/>
              </a:rPr>
              <a:t>(value = </a:t>
            </a:r>
            <a:r>
              <a:rPr lang="en-US" dirty="0" err="1">
                <a:latin typeface="Monaco" pitchFamily="2" charset="77"/>
              </a:rPr>
              <a:t>DukeColors</a:t>
            </a:r>
            <a:r>
              <a:rPr lang="en-US" dirty="0">
                <a:latin typeface="Monaco" pitchFamily="2" charset="77"/>
              </a:rPr>
              <a:t>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b="1" dirty="0" err="1">
                <a:latin typeface="Monaco" pitchFamily="2" charset="77"/>
              </a:rPr>
              <a:t>theme_minimal</a:t>
            </a:r>
            <a:r>
              <a:rPr lang="en-US" b="1" dirty="0">
                <a:latin typeface="Monaco" pitchFamily="2" charset="77"/>
              </a:rPr>
              <a:t>() +</a:t>
            </a:r>
          </a:p>
          <a:p>
            <a:pPr>
              <a:lnSpc>
                <a:spcPts val="3060"/>
              </a:lnSpc>
            </a:pPr>
            <a:r>
              <a:rPr lang="en-US" b="1" dirty="0">
                <a:latin typeface="Monaco" pitchFamily="2" charset="77"/>
              </a:rPr>
              <a:t>  theme(</a:t>
            </a:r>
          </a:p>
          <a:p>
            <a:pPr>
              <a:lnSpc>
                <a:spcPts val="3060"/>
              </a:lnSpc>
            </a:pPr>
            <a:r>
              <a:rPr lang="en-US" b="1" dirty="0">
                <a:latin typeface="Monaco" pitchFamily="2" charset="77"/>
              </a:rPr>
              <a:t>      </a:t>
            </a:r>
            <a:r>
              <a:rPr lang="en-US" dirty="0" err="1">
                <a:latin typeface="Monaco" pitchFamily="2" charset="77"/>
              </a:rPr>
              <a:t>axis.line.x.bottom</a:t>
            </a:r>
            <a:r>
              <a:rPr lang="en-US" dirty="0">
                <a:latin typeface="Monaco" pitchFamily="2" charset="77"/>
              </a:rPr>
              <a:t>=</a:t>
            </a:r>
            <a:r>
              <a:rPr lang="en-US" dirty="0" err="1">
                <a:latin typeface="Monaco" pitchFamily="2" charset="77"/>
              </a:rPr>
              <a:t>element_line</a:t>
            </a:r>
            <a:r>
              <a:rPr lang="en-US" dirty="0">
                <a:latin typeface="Monaco" pitchFamily="2" charset="77"/>
              </a:rPr>
              <a:t>(),</a:t>
            </a:r>
          </a:p>
          <a:p>
            <a:pPr>
              <a:lnSpc>
                <a:spcPts val="3060"/>
              </a:lnSpc>
            </a:pPr>
            <a:r>
              <a:rPr lang="en-US" dirty="0">
                <a:latin typeface="Monaco" pitchFamily="2" charset="77"/>
              </a:rPr>
              <a:t>      </a:t>
            </a:r>
            <a:r>
              <a:rPr lang="en-US" dirty="0" err="1">
                <a:latin typeface="Monaco" pitchFamily="2" charset="77"/>
              </a:rPr>
              <a:t>axis.line.y.left</a:t>
            </a:r>
            <a:r>
              <a:rPr lang="en-US" dirty="0">
                <a:latin typeface="Monaco" pitchFamily="2" charset="77"/>
              </a:rPr>
              <a:t>=</a:t>
            </a:r>
            <a:r>
              <a:rPr lang="en-US" dirty="0" err="1">
                <a:latin typeface="Monaco" pitchFamily="2" charset="77"/>
              </a:rPr>
              <a:t>element_line</a:t>
            </a:r>
            <a:r>
              <a:rPr lang="en-US" dirty="0">
                <a:latin typeface="Monaco" pitchFamily="2" charset="77"/>
              </a:rPr>
              <a:t>()</a:t>
            </a:r>
          </a:p>
          <a:p>
            <a:pPr>
              <a:lnSpc>
                <a:spcPts val="3060"/>
              </a:lnSpc>
            </a:pPr>
            <a:r>
              <a:rPr lang="en-US" dirty="0">
                <a:latin typeface="Monaco" pitchFamily="2" charset="77"/>
              </a:rPr>
              <a:t>	)</a:t>
            </a: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6EF6363-D4B7-CFB3-A170-51C54BED9A9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1" y="1657966"/>
            <a:ext cx="5517199" cy="4547961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0FD1AE97-F656-AE51-6E72-FB580E82EF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55959" y="1657964"/>
            <a:ext cx="5721247" cy="47161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96F4CA-06B6-63B9-B5C1-D58C27A46F2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6354" y="931242"/>
            <a:ext cx="4924627" cy="733866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B3EC38C3-77FF-4F6C-0009-D899249FFA8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31807" y="1546763"/>
            <a:ext cx="6172039" cy="4750718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02251196-504E-7248-F85B-99981F96016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66380" y="1593199"/>
            <a:ext cx="6127146" cy="4716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370928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27C6A5-FDB9-E670-FA13-F55F9C6208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CD628C7-89C9-2CFA-EA6F-F8745FCFAF8D}"/>
              </a:ext>
            </a:extLst>
          </p:cNvPr>
          <p:cNvSpPr/>
          <p:nvPr/>
        </p:nvSpPr>
        <p:spPr>
          <a:xfrm>
            <a:off x="314793" y="748259"/>
            <a:ext cx="5745402" cy="59373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981CE9-9117-15D6-1C2E-8FC4BBCFBD34}"/>
              </a:ext>
            </a:extLst>
          </p:cNvPr>
          <p:cNvSpPr txBox="1"/>
          <p:nvPr/>
        </p:nvSpPr>
        <p:spPr>
          <a:xfrm>
            <a:off x="425155" y="1174977"/>
            <a:ext cx="6964996" cy="57890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, n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col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fill=continent=="Asia"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scale_fill_manual</a:t>
            </a:r>
            <a:r>
              <a:rPr lang="en-US" dirty="0">
                <a:latin typeface="Monaco" pitchFamily="2" charset="77"/>
              </a:rPr>
              <a:t>(value = </a:t>
            </a:r>
            <a:r>
              <a:rPr lang="en-US" dirty="0" err="1">
                <a:latin typeface="Monaco" pitchFamily="2" charset="77"/>
              </a:rPr>
              <a:t>DukeColors</a:t>
            </a:r>
            <a:r>
              <a:rPr lang="en-US" dirty="0">
                <a:latin typeface="Monaco" pitchFamily="2" charset="77"/>
              </a:rPr>
              <a:t>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b="1" dirty="0" err="1">
                <a:latin typeface="Monaco" pitchFamily="2" charset="77"/>
              </a:rPr>
              <a:t>theme_minimal</a:t>
            </a:r>
            <a:r>
              <a:rPr lang="en-US" b="1" dirty="0">
                <a:latin typeface="Monaco" pitchFamily="2" charset="77"/>
              </a:rPr>
              <a:t>() +</a:t>
            </a:r>
          </a:p>
          <a:p>
            <a:pPr>
              <a:lnSpc>
                <a:spcPts val="3060"/>
              </a:lnSpc>
            </a:pPr>
            <a:r>
              <a:rPr lang="en-US" b="1" dirty="0">
                <a:latin typeface="Monaco" pitchFamily="2" charset="77"/>
              </a:rPr>
              <a:t>  theme(</a:t>
            </a:r>
          </a:p>
          <a:p>
            <a:pPr>
              <a:lnSpc>
                <a:spcPts val="3060"/>
              </a:lnSpc>
            </a:pPr>
            <a:r>
              <a:rPr lang="en-US" b="1" dirty="0">
                <a:latin typeface="Monaco" pitchFamily="2" charset="77"/>
              </a:rPr>
              <a:t>      </a:t>
            </a:r>
            <a:r>
              <a:rPr lang="en-US" dirty="0" err="1">
                <a:latin typeface="Monaco" pitchFamily="2" charset="77"/>
              </a:rPr>
              <a:t>axis.line.x.bottom</a:t>
            </a:r>
            <a:r>
              <a:rPr lang="en-US" dirty="0">
                <a:latin typeface="Monaco" pitchFamily="2" charset="77"/>
              </a:rPr>
              <a:t>=</a:t>
            </a:r>
            <a:r>
              <a:rPr lang="en-US" dirty="0" err="1">
                <a:latin typeface="Monaco" pitchFamily="2" charset="77"/>
              </a:rPr>
              <a:t>element_line</a:t>
            </a:r>
            <a:r>
              <a:rPr lang="en-US" dirty="0">
                <a:latin typeface="Monaco" pitchFamily="2" charset="77"/>
              </a:rPr>
              <a:t>(),</a:t>
            </a:r>
          </a:p>
          <a:p>
            <a:pPr>
              <a:lnSpc>
                <a:spcPts val="3060"/>
              </a:lnSpc>
            </a:pPr>
            <a:r>
              <a:rPr lang="en-US" dirty="0">
                <a:latin typeface="Monaco" pitchFamily="2" charset="77"/>
              </a:rPr>
              <a:t>      </a:t>
            </a:r>
            <a:r>
              <a:rPr lang="en-US" dirty="0" err="1">
                <a:latin typeface="Monaco" pitchFamily="2" charset="77"/>
              </a:rPr>
              <a:t>axis.line.y.left</a:t>
            </a:r>
            <a:r>
              <a:rPr lang="en-US" dirty="0">
                <a:latin typeface="Monaco" pitchFamily="2" charset="77"/>
              </a:rPr>
              <a:t>=</a:t>
            </a:r>
            <a:r>
              <a:rPr lang="en-US" dirty="0" err="1">
                <a:latin typeface="Monaco" pitchFamily="2" charset="77"/>
              </a:rPr>
              <a:t>element_line</a:t>
            </a:r>
            <a:r>
              <a:rPr lang="en-US" dirty="0">
                <a:latin typeface="Monaco" pitchFamily="2" charset="77"/>
              </a:rPr>
              <a:t>()</a:t>
            </a:r>
          </a:p>
          <a:p>
            <a:pPr>
              <a:lnSpc>
                <a:spcPts val="3060"/>
              </a:lnSpc>
            </a:pPr>
            <a:r>
              <a:rPr lang="en-US" dirty="0">
                <a:latin typeface="Monaco" pitchFamily="2" charset="77"/>
              </a:rPr>
              <a:t>	)</a:t>
            </a: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D432BF6-8062-59E7-1951-E4B003C0E9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354" y="931242"/>
            <a:ext cx="4924627" cy="73386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64E62B2F-3C44-308A-077D-49EF4F3BEE80}"/>
              </a:ext>
            </a:extLst>
          </p:cNvPr>
          <p:cNvGrpSpPr/>
          <p:nvPr/>
        </p:nvGrpSpPr>
        <p:grpSpPr>
          <a:xfrm>
            <a:off x="5390981" y="748259"/>
            <a:ext cx="929391" cy="733866"/>
            <a:chOff x="4886793" y="1724521"/>
            <a:chExt cx="929391" cy="733866"/>
          </a:xfrm>
        </p:grpSpPr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4C5CEAF5-4FA1-3FF2-29A7-82CCFDC8246D}"/>
                </a:ext>
              </a:extLst>
            </p:cNvPr>
            <p:cNvSpPr/>
            <p:nvPr/>
          </p:nvSpPr>
          <p:spPr>
            <a:xfrm>
              <a:off x="4886793" y="1724521"/>
              <a:ext cx="929391" cy="733866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riangle 6">
              <a:extLst>
                <a:ext uri="{FF2B5EF4-FFF2-40B4-BE49-F238E27FC236}">
                  <a16:creationId xmlns:a16="http://schemas.microsoft.com/office/drawing/2014/main" id="{DC097496-8B68-BAAB-4860-8E68179DED53}"/>
                </a:ext>
              </a:extLst>
            </p:cNvPr>
            <p:cNvSpPr/>
            <p:nvPr/>
          </p:nvSpPr>
          <p:spPr>
            <a:xfrm rot="5400000">
              <a:off x="5181804" y="1928444"/>
              <a:ext cx="418354" cy="326020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AE89B743-FAE5-AC58-E7EB-25BF5E8990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85940" y="1545148"/>
            <a:ext cx="5996766" cy="461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395060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879730" y="117655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879730" y="1864767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879730" y="25500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879730" y="321011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879730" y="400399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879730" y="478682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47172FD9-066A-7BE9-B793-BC5DF5F071BC}"/>
              </a:ext>
            </a:extLst>
          </p:cNvPr>
          <p:cNvSpPr/>
          <p:nvPr/>
        </p:nvSpPr>
        <p:spPr>
          <a:xfrm rot="1070933" flipH="1">
            <a:off x="9522334" y="5507316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8828D9-5666-93BF-478B-E6414016C849}"/>
              </a:ext>
            </a:extLst>
          </p:cNvPr>
          <p:cNvSpPr txBox="1"/>
          <p:nvPr/>
        </p:nvSpPr>
        <p:spPr>
          <a:xfrm>
            <a:off x="7911178" y="564694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Exporting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3A7B291E-C911-032B-EE54-F880560CD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112" y="1808241"/>
            <a:ext cx="5080000" cy="323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A08BA2A-A66D-1913-852A-08C410A85D6C}"/>
              </a:ext>
            </a:extLst>
          </p:cNvPr>
          <p:cNvSpPr txBox="1"/>
          <p:nvPr/>
        </p:nvSpPr>
        <p:spPr>
          <a:xfrm>
            <a:off x="5979175" y="4677409"/>
            <a:ext cx="621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94996"/>
                </a:solidFill>
              </a:rPr>
              <a:t>.pdf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178023BA-FE48-EB32-6E0C-D66A50640BBF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91A5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8A044B10-939F-3446-2FF0-8E2D34D11B4B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D989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0FCE8B23-BB08-05E7-5A7B-1F5F97E98291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A990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201643DA-B1E7-EDF4-C46C-3EAFF1BAB80D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0D1B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BB3A8D7E-6C82-9FC4-97EE-80C3676420E3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E2C2A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arallelogram 21">
            <a:extLst>
              <a:ext uri="{FF2B5EF4-FFF2-40B4-BE49-F238E27FC236}">
                <a16:creationId xmlns:a16="http://schemas.microsoft.com/office/drawing/2014/main" id="{9E289247-B1A8-8B41-549B-2D8F484BFFA4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92A7D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18574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graph&#10;&#10;Description automatically generated">
            <a:extLst>
              <a:ext uri="{FF2B5EF4-FFF2-40B4-BE49-F238E27FC236}">
                <a16:creationId xmlns:a16="http://schemas.microsoft.com/office/drawing/2014/main" id="{A4F0ED2C-EC24-D518-6164-E6D4B69FFE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9239" y="294833"/>
            <a:ext cx="8825345" cy="626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58571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D549D4B-2348-7C16-002F-29570FD90468}"/>
              </a:ext>
            </a:extLst>
          </p:cNvPr>
          <p:cNvSpPr txBox="1"/>
          <p:nvPr/>
        </p:nvSpPr>
        <p:spPr>
          <a:xfrm>
            <a:off x="4203986" y="1570011"/>
            <a:ext cx="32191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/>
              <a:t>Lets give it a tr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3F819F-3B67-B70B-5BE5-0E06771456B7}"/>
              </a:ext>
            </a:extLst>
          </p:cNvPr>
          <p:cNvSpPr txBox="1"/>
          <p:nvPr/>
        </p:nvSpPr>
        <p:spPr>
          <a:xfrm>
            <a:off x="2479729" y="2822291"/>
            <a:ext cx="786151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dirty="0">
                <a:solidFill>
                  <a:schemeClr val="accent2">
                    <a:lumMod val="75000"/>
                  </a:schemeClr>
                </a:solidFill>
              </a:rPr>
              <a:t>https://</a:t>
            </a:r>
            <a:r>
              <a:rPr lang="en-US" sz="4000" dirty="0" err="1">
                <a:solidFill>
                  <a:schemeClr val="accent2">
                    <a:lumMod val="75000"/>
                  </a:schemeClr>
                </a:solidFill>
              </a:rPr>
              <a:t>tinyurl.com</a:t>
            </a:r>
            <a:r>
              <a:rPr lang="en-US" sz="4000" dirty="0">
                <a:solidFill>
                  <a:schemeClr val="accent2">
                    <a:lumMod val="75000"/>
                  </a:schemeClr>
                </a:solidFill>
              </a:rPr>
              <a:t>/ggplot2mids</a:t>
            </a:r>
          </a:p>
        </p:txBody>
      </p:sp>
    </p:spTree>
    <p:extLst>
      <p:ext uri="{BB962C8B-B14F-4D97-AF65-F5344CB8AC3E}">
        <p14:creationId xmlns:p14="http://schemas.microsoft.com/office/powerpoint/2010/main" val="389471359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1216B85-037D-C8B7-AD1D-BF065C5B298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1355"/>
          <a:stretch/>
        </p:blipFill>
        <p:spPr>
          <a:xfrm>
            <a:off x="978569" y="218810"/>
            <a:ext cx="9413940" cy="6420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8200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A7E85D-3860-231C-B4AB-D2F5A627DA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CD0A6B0A-A0FC-540C-6D53-A3B52556BC62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04B4DE-1B45-2469-C0F5-87E4E818D032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AEB39B8-BFBF-63E6-2057-CD9E56850C5C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449461E-BAAB-5EC6-3E63-FFE1A8902B72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1762A2C-B3A5-C18C-B2DA-EEC422C59477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F404556-11A5-6DFD-88C2-170AEC528A20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E19677E-6D98-330D-059B-7D274431B3C3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E8480C37-A479-5132-77BB-0E5CBDEF899D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8DB60CB9-148D-F66C-0675-DBF75ADD9217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F6065271-B264-B859-3B91-308B2CF20C6C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6D930EC-0EE7-3C05-E9AA-106684E8A20B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9E9819-9CA9-D4EB-7F86-A4268CD73FEB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A197C1-86AC-3700-1FB1-25C505FA7DBB}"/>
              </a:ext>
            </a:extLst>
          </p:cNvPr>
          <p:cNvSpPr txBox="1"/>
          <p:nvPr/>
        </p:nvSpPr>
        <p:spPr>
          <a:xfrm>
            <a:off x="4259392" y="2534189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849BD32-72C2-55A3-1A67-43D755BC9A26}"/>
              </a:ext>
            </a:extLst>
          </p:cNvPr>
          <p:cNvSpPr/>
          <p:nvPr/>
        </p:nvSpPr>
        <p:spPr>
          <a:xfrm>
            <a:off x="1568139" y="3067484"/>
            <a:ext cx="3123782" cy="369332"/>
          </a:xfrm>
          <a:prstGeom prst="roundRect">
            <a:avLst/>
          </a:prstGeom>
          <a:solidFill>
            <a:srgbClr val="7744C4">
              <a:alpha val="54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statistics fun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1FA5455-B7A8-D615-18BC-FD14C50B96F9}"/>
              </a:ext>
            </a:extLst>
          </p:cNvPr>
          <p:cNvSpPr txBox="1"/>
          <p:nvPr/>
        </p:nvSpPr>
        <p:spPr>
          <a:xfrm>
            <a:off x="4562748" y="298567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D2247D01-9892-85F8-78CE-CA0BC2891EDE}"/>
              </a:ext>
            </a:extLst>
          </p:cNvPr>
          <p:cNvSpPr/>
          <p:nvPr/>
        </p:nvSpPr>
        <p:spPr>
          <a:xfrm>
            <a:off x="1568138" y="3552536"/>
            <a:ext cx="2549267" cy="369332"/>
          </a:xfrm>
          <a:prstGeom prst="roundRect">
            <a:avLst/>
          </a:prstGeom>
          <a:solidFill>
            <a:srgbClr val="C45344">
              <a:alpha val="49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scales fun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D651AE-8553-5844-8D2E-A978903FBDA6}"/>
              </a:ext>
            </a:extLst>
          </p:cNvPr>
          <p:cNvSpPr txBox="1"/>
          <p:nvPr/>
        </p:nvSpPr>
        <p:spPr>
          <a:xfrm>
            <a:off x="3983049" y="348864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040E7D31-0205-41ED-C061-92CF00AF5707}"/>
              </a:ext>
            </a:extLst>
          </p:cNvPr>
          <p:cNvSpPr/>
          <p:nvPr/>
        </p:nvSpPr>
        <p:spPr>
          <a:xfrm>
            <a:off x="1568139" y="4032921"/>
            <a:ext cx="2549268" cy="369332"/>
          </a:xfrm>
          <a:prstGeom prst="roundRect">
            <a:avLst/>
          </a:prstGeom>
          <a:solidFill>
            <a:schemeClr val="accent4">
              <a:lumMod val="75000"/>
              <a:alpha val="54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themes function</a:t>
            </a:r>
          </a:p>
        </p:txBody>
      </p:sp>
      <p:sp>
        <p:nvSpPr>
          <p:cNvPr id="32" name="Parallelogram 31">
            <a:extLst>
              <a:ext uri="{FF2B5EF4-FFF2-40B4-BE49-F238E27FC236}">
                <a16:creationId xmlns:a16="http://schemas.microsoft.com/office/drawing/2014/main" id="{E7FB9C5E-51EA-403B-A04B-2BA14FD092AD}"/>
              </a:ext>
            </a:extLst>
          </p:cNvPr>
          <p:cNvSpPr/>
          <p:nvPr/>
        </p:nvSpPr>
        <p:spPr>
          <a:xfrm rot="2091145">
            <a:off x="9700897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91A5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Parallelogram 32">
            <a:extLst>
              <a:ext uri="{FF2B5EF4-FFF2-40B4-BE49-F238E27FC236}">
                <a16:creationId xmlns:a16="http://schemas.microsoft.com/office/drawing/2014/main" id="{A7CC5054-78A1-873A-58BE-E8546DF79176}"/>
              </a:ext>
            </a:extLst>
          </p:cNvPr>
          <p:cNvSpPr/>
          <p:nvPr/>
        </p:nvSpPr>
        <p:spPr>
          <a:xfrm rot="2091145">
            <a:off x="9712275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D989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Parallelogram 33">
            <a:extLst>
              <a:ext uri="{FF2B5EF4-FFF2-40B4-BE49-F238E27FC236}">
                <a16:creationId xmlns:a16="http://schemas.microsoft.com/office/drawing/2014/main" id="{AD29D9D5-E481-6DE6-E163-814189B1F10F}"/>
              </a:ext>
            </a:extLst>
          </p:cNvPr>
          <p:cNvSpPr/>
          <p:nvPr/>
        </p:nvSpPr>
        <p:spPr>
          <a:xfrm rot="2091145">
            <a:off x="9709252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A990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Parallelogram 34">
            <a:extLst>
              <a:ext uri="{FF2B5EF4-FFF2-40B4-BE49-F238E27FC236}">
                <a16:creationId xmlns:a16="http://schemas.microsoft.com/office/drawing/2014/main" id="{5565454C-D828-E43E-AE02-52BA0092E137}"/>
              </a:ext>
            </a:extLst>
          </p:cNvPr>
          <p:cNvSpPr/>
          <p:nvPr/>
        </p:nvSpPr>
        <p:spPr>
          <a:xfrm rot="2091145">
            <a:off x="9734310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0D1B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Parallelogram 35">
            <a:extLst>
              <a:ext uri="{FF2B5EF4-FFF2-40B4-BE49-F238E27FC236}">
                <a16:creationId xmlns:a16="http://schemas.microsoft.com/office/drawing/2014/main" id="{A0DDF712-A218-0081-14EE-1F7E660DB61F}"/>
              </a:ext>
            </a:extLst>
          </p:cNvPr>
          <p:cNvSpPr/>
          <p:nvPr/>
        </p:nvSpPr>
        <p:spPr>
          <a:xfrm rot="2091145">
            <a:off x="9720271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E2C2A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Parallelogram 36">
            <a:extLst>
              <a:ext uri="{FF2B5EF4-FFF2-40B4-BE49-F238E27FC236}">
                <a16:creationId xmlns:a16="http://schemas.microsoft.com/office/drawing/2014/main" id="{E714FC5B-BE67-32BC-BC72-56B85C4D3D39}"/>
              </a:ext>
            </a:extLst>
          </p:cNvPr>
          <p:cNvSpPr/>
          <p:nvPr/>
        </p:nvSpPr>
        <p:spPr>
          <a:xfrm rot="2091145">
            <a:off x="9742308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92A7D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3313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Them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42FF0C8-28B7-064F-EEB3-5BFDAB1A3265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DAD6ED74-EE00-B8F5-58D8-B57662CE36FC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B5430C49-86EB-8DA5-4683-CDF6E10C3C16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7CD5761-22A6-0BD1-EE64-FDA6BEB679CC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04A7C4-F91F-255E-AC47-4DFB5003AC4C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2B0F4CE-5A9D-8A4F-9EA8-EC738689183D}"/>
              </a:ext>
            </a:extLst>
          </p:cNvPr>
          <p:cNvSpPr txBox="1"/>
          <p:nvPr/>
        </p:nvSpPr>
        <p:spPr>
          <a:xfrm>
            <a:off x="4259392" y="2534189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1B75B5C-CDB3-5D24-5B96-EC78C35EE01F}"/>
              </a:ext>
            </a:extLst>
          </p:cNvPr>
          <p:cNvSpPr/>
          <p:nvPr/>
        </p:nvSpPr>
        <p:spPr>
          <a:xfrm>
            <a:off x="1568139" y="3067484"/>
            <a:ext cx="3123782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statistics fun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BEDD91-9583-1156-5E9E-26D7DB95845A}"/>
              </a:ext>
            </a:extLst>
          </p:cNvPr>
          <p:cNvSpPr txBox="1"/>
          <p:nvPr/>
        </p:nvSpPr>
        <p:spPr>
          <a:xfrm>
            <a:off x="4562748" y="298567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0401DB83-2CAA-4480-FBAC-268A3EB203C8}"/>
              </a:ext>
            </a:extLst>
          </p:cNvPr>
          <p:cNvSpPr/>
          <p:nvPr/>
        </p:nvSpPr>
        <p:spPr>
          <a:xfrm>
            <a:off x="1568138" y="3552536"/>
            <a:ext cx="2549267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scales fun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52BDC9-2A9D-7FA4-E606-777CEE604BC6}"/>
              </a:ext>
            </a:extLst>
          </p:cNvPr>
          <p:cNvSpPr txBox="1"/>
          <p:nvPr/>
        </p:nvSpPr>
        <p:spPr>
          <a:xfrm>
            <a:off x="3983049" y="348864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75647492-4373-D384-CE76-D6A2ECB680D3}"/>
              </a:ext>
            </a:extLst>
          </p:cNvPr>
          <p:cNvSpPr/>
          <p:nvPr/>
        </p:nvSpPr>
        <p:spPr>
          <a:xfrm>
            <a:off x="1568139" y="4032921"/>
            <a:ext cx="2549268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themes function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B27305F3-4291-E9FB-74A2-32AAE259E640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75000"/>
              <a:alpha val="89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A831E19F-B7A8-270B-E354-295EC2398351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75000"/>
              <a:alpha val="89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Parallelogram 27">
            <a:extLst>
              <a:ext uri="{FF2B5EF4-FFF2-40B4-BE49-F238E27FC236}">
                <a16:creationId xmlns:a16="http://schemas.microsoft.com/office/drawing/2014/main" id="{38456FF0-74E5-02B3-269D-3C6D4BE45B24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75000"/>
              <a:alpha val="89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Parallelogram 28">
            <a:extLst>
              <a:ext uri="{FF2B5EF4-FFF2-40B4-BE49-F238E27FC236}">
                <a16:creationId xmlns:a16="http://schemas.microsoft.com/office/drawing/2014/main" id="{1922C1FC-899B-CC33-31FD-852AC991D964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0D1B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arallelogram 29">
            <a:extLst>
              <a:ext uri="{FF2B5EF4-FFF2-40B4-BE49-F238E27FC236}">
                <a16:creationId xmlns:a16="http://schemas.microsoft.com/office/drawing/2014/main" id="{3E9028B9-B7CC-9200-6C13-4AD41A072ABB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E2C2A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arallelogram 30">
            <a:extLst>
              <a:ext uri="{FF2B5EF4-FFF2-40B4-BE49-F238E27FC236}">
                <a16:creationId xmlns:a16="http://schemas.microsoft.com/office/drawing/2014/main" id="{BE5D66EE-4C4A-1863-4573-9EA8A0F0E5D4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92A7D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7168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402B2CF-D12D-D672-0E6F-88FAF563F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5448E461-D67D-2CAD-8879-1D3A403A7A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1471" y="503088"/>
            <a:ext cx="6834956" cy="147811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FBE91AE-AC37-D5DA-7A5B-AB3E058C1B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1471" y="2032009"/>
            <a:ext cx="6398986" cy="482599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52F40BC-57AD-13D3-02FC-3934E2CD31CC}"/>
              </a:ext>
            </a:extLst>
          </p:cNvPr>
          <p:cNvSpPr txBox="1"/>
          <p:nvPr/>
        </p:nvSpPr>
        <p:spPr>
          <a:xfrm>
            <a:off x="179563" y="1191313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2C5CCF90-3626-1487-A8D8-C72A470A724F}"/>
              </a:ext>
            </a:extLst>
          </p:cNvPr>
          <p:cNvSpPr/>
          <p:nvPr/>
        </p:nvSpPr>
        <p:spPr>
          <a:xfrm>
            <a:off x="1367851" y="1194659"/>
            <a:ext cx="214278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6CB1AE2C-FCB3-002A-5FC7-47F01D11AA52}"/>
              </a:ext>
            </a:extLst>
          </p:cNvPr>
          <p:cNvSpPr/>
          <p:nvPr/>
        </p:nvSpPr>
        <p:spPr>
          <a:xfrm>
            <a:off x="1367851" y="2420037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D31AD9-4CC6-B231-CB1B-EC59BD2C9FCE}"/>
              </a:ext>
            </a:extLst>
          </p:cNvPr>
          <p:cNvSpPr txBox="1"/>
          <p:nvPr/>
        </p:nvSpPr>
        <p:spPr>
          <a:xfrm>
            <a:off x="3397203" y="1179010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A56929A6-A2D2-64E2-6EC6-AF593125E71D}"/>
              </a:ext>
            </a:extLst>
          </p:cNvPr>
          <p:cNvSpPr/>
          <p:nvPr/>
        </p:nvSpPr>
        <p:spPr>
          <a:xfrm>
            <a:off x="1367851" y="1813688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D47F4A4-A487-F81B-A784-78AF8D7E539D}"/>
              </a:ext>
            </a:extLst>
          </p:cNvPr>
          <p:cNvSpPr txBox="1"/>
          <p:nvPr/>
        </p:nvSpPr>
        <p:spPr>
          <a:xfrm>
            <a:off x="4528815" y="1776088"/>
            <a:ext cx="553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Monaco" pitchFamily="2" charset="77"/>
              </a:rPr>
              <a:t>)+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08908F2-883B-766A-9236-ECCE055A1367}"/>
              </a:ext>
            </a:extLst>
          </p:cNvPr>
          <p:cNvSpPr/>
          <p:nvPr/>
        </p:nvSpPr>
        <p:spPr>
          <a:xfrm>
            <a:off x="551543" y="2246793"/>
            <a:ext cx="4641301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9340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2E75D1C-7FFD-393C-86AB-9DE8388F66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86CB07FB-8996-DEEF-938F-8675D38076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1471" y="503088"/>
            <a:ext cx="6834956" cy="147811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08C4295-E8BD-C138-7BC4-C8226EE457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1471" y="2032009"/>
            <a:ext cx="6398986" cy="482599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75314B1-33F8-6EAD-2645-08B3085765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9199" y="2030294"/>
            <a:ext cx="6401258" cy="482770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82F528F-D181-2378-33AC-06488AE494C9}"/>
              </a:ext>
            </a:extLst>
          </p:cNvPr>
          <p:cNvSpPr txBox="1"/>
          <p:nvPr/>
        </p:nvSpPr>
        <p:spPr>
          <a:xfrm>
            <a:off x="179563" y="1191313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B475749-9611-01BE-F5B0-68EF6975F0DC}"/>
              </a:ext>
            </a:extLst>
          </p:cNvPr>
          <p:cNvSpPr/>
          <p:nvPr/>
        </p:nvSpPr>
        <p:spPr>
          <a:xfrm>
            <a:off x="1367851" y="1194659"/>
            <a:ext cx="214278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D674F0B7-D3B5-164C-AEB0-E28996A2C81A}"/>
              </a:ext>
            </a:extLst>
          </p:cNvPr>
          <p:cNvSpPr/>
          <p:nvPr/>
        </p:nvSpPr>
        <p:spPr>
          <a:xfrm>
            <a:off x="1367851" y="2420037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928BC3-7B50-05FC-A4C9-967D36CC7460}"/>
              </a:ext>
            </a:extLst>
          </p:cNvPr>
          <p:cNvSpPr txBox="1"/>
          <p:nvPr/>
        </p:nvSpPr>
        <p:spPr>
          <a:xfrm>
            <a:off x="3397203" y="1179010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7E1B5F30-5519-465C-3A37-B4879B1EFB98}"/>
              </a:ext>
            </a:extLst>
          </p:cNvPr>
          <p:cNvSpPr/>
          <p:nvPr/>
        </p:nvSpPr>
        <p:spPr>
          <a:xfrm>
            <a:off x="1367851" y="1813688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91208BD-E134-B3FE-D35A-C126B9FE68FD}"/>
              </a:ext>
            </a:extLst>
          </p:cNvPr>
          <p:cNvSpPr txBox="1"/>
          <p:nvPr/>
        </p:nvSpPr>
        <p:spPr>
          <a:xfrm>
            <a:off x="4528815" y="1776088"/>
            <a:ext cx="553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Monaco" pitchFamily="2" charset="77"/>
              </a:rPr>
              <a:t>)+</a:t>
            </a:r>
          </a:p>
        </p:txBody>
      </p:sp>
    </p:spTree>
    <p:extLst>
      <p:ext uri="{BB962C8B-B14F-4D97-AF65-F5344CB8AC3E}">
        <p14:creationId xmlns:p14="http://schemas.microsoft.com/office/powerpoint/2010/main" val="21253811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C854D3-92CB-2FAA-F560-2ACBD9839D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C9E1F712-389C-1F9A-634A-C03AB905094D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8D148C2F-1E25-91F4-26AA-8A5FCE3556E1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1DBBA88F-8F09-A926-A3DD-1C524AF621AA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D36025A6-0CC0-BFD2-797B-9A88E905E1BF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07B324C-77D4-7F61-6A48-A9673F17B09D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0E8DD02-A766-9293-6901-CCA430342711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216887E-58C0-E655-2F83-921499D82613}"/>
              </a:ext>
            </a:extLst>
          </p:cNvPr>
          <p:cNvSpPr/>
          <p:nvPr/>
        </p:nvSpPr>
        <p:spPr>
          <a:xfrm>
            <a:off x="1383707" y="2061107"/>
            <a:ext cx="5499440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945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BAA02B-3CD7-C4E0-C689-71141DBD3B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D2089F9-AD52-451F-E2FC-22466A326D7B}"/>
              </a:ext>
            </a:extLst>
          </p:cNvPr>
          <p:cNvSpPr txBox="1"/>
          <p:nvPr/>
        </p:nvSpPr>
        <p:spPr>
          <a:xfrm>
            <a:off x="300941" y="277792"/>
            <a:ext cx="1124628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  <a:p>
            <a:r>
              <a:rPr lang="en-US" sz="3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gplot</a:t>
            </a:r>
            <a:r>
              <a:rPr lang="en-US" sz="3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expects your data to be in a “tidy”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F7056D-FD48-088C-AD99-AD4576734915}"/>
              </a:ext>
            </a:extLst>
          </p:cNvPr>
          <p:cNvSpPr txBox="1"/>
          <p:nvPr/>
        </p:nvSpPr>
        <p:spPr>
          <a:xfrm>
            <a:off x="6686942" y="1741013"/>
            <a:ext cx="3570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 (aka “Tidy” data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D71FF1-83C2-AEBF-2D3C-1DED09DA15B8}"/>
              </a:ext>
            </a:extLst>
          </p:cNvPr>
          <p:cNvSpPr txBox="1"/>
          <p:nvPr/>
        </p:nvSpPr>
        <p:spPr>
          <a:xfrm>
            <a:off x="1183230" y="1741013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F39E6C-395C-6C18-EB97-F26B021E380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2219233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AA9B609-8E7B-55A8-562D-731BA9F6CE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2218704"/>
            <a:ext cx="3341176" cy="2620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0985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0CA9C-4350-DE0E-5242-40A95F2C5F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B27F5E7-0157-DC88-6DDA-FA495A4BE90F}"/>
              </a:ext>
            </a:extLst>
          </p:cNvPr>
          <p:cNvSpPr txBox="1"/>
          <p:nvPr/>
        </p:nvSpPr>
        <p:spPr>
          <a:xfrm>
            <a:off x="300941" y="277792"/>
            <a:ext cx="1124628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  <a:p>
            <a:r>
              <a:rPr lang="en-US" sz="3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gplot</a:t>
            </a:r>
            <a:r>
              <a:rPr lang="en-US" sz="3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expects your data to be in a “tidy”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5804C37-5540-9163-D078-7AA47BC29E20}"/>
              </a:ext>
            </a:extLst>
          </p:cNvPr>
          <p:cNvSpPr txBox="1"/>
          <p:nvPr/>
        </p:nvSpPr>
        <p:spPr>
          <a:xfrm>
            <a:off x="6686942" y="1741013"/>
            <a:ext cx="3570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 (aka “Tidy” data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22224F-F8CB-507D-A02B-9A027F23E5B9}"/>
              </a:ext>
            </a:extLst>
          </p:cNvPr>
          <p:cNvSpPr txBox="1"/>
          <p:nvPr/>
        </p:nvSpPr>
        <p:spPr>
          <a:xfrm>
            <a:off x="1183230" y="1741013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2F111A-C4A7-C2F4-8E25-0F8283A4CA2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2219233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9D1267B-C09F-62CD-2E18-39A35C92F7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2218704"/>
            <a:ext cx="3341176" cy="262018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DFA2FAA-6DEF-8751-3C56-8328B37D064E}"/>
              </a:ext>
            </a:extLst>
          </p:cNvPr>
          <p:cNvSpPr/>
          <p:nvPr/>
        </p:nvSpPr>
        <p:spPr>
          <a:xfrm>
            <a:off x="7994074" y="2613566"/>
            <a:ext cx="2174133" cy="2333682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6E8529-A1D7-D631-6E0F-B772F1C62770}"/>
              </a:ext>
            </a:extLst>
          </p:cNvPr>
          <p:cNvSpPr/>
          <p:nvPr/>
        </p:nvSpPr>
        <p:spPr>
          <a:xfrm>
            <a:off x="2452255" y="2215270"/>
            <a:ext cx="2142328" cy="1631794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</a:t>
            </a:r>
          </a:p>
        </p:txBody>
      </p:sp>
    </p:spTree>
    <p:extLst>
      <p:ext uri="{BB962C8B-B14F-4D97-AF65-F5344CB8AC3E}">
        <p14:creationId xmlns:p14="http://schemas.microsoft.com/office/powerpoint/2010/main" val="19986257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0C0D21D-7CBD-0351-3F66-3CB06C062740}"/>
              </a:ext>
            </a:extLst>
          </p:cNvPr>
          <p:cNvSpPr/>
          <p:nvPr/>
        </p:nvSpPr>
        <p:spPr>
          <a:xfrm>
            <a:off x="595745" y="4715483"/>
            <a:ext cx="11000509" cy="14851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A7CD13-21C4-1D1E-893B-8424F1C02BB7}"/>
              </a:ext>
            </a:extLst>
          </p:cNvPr>
          <p:cNvSpPr txBox="1"/>
          <p:nvPr/>
        </p:nvSpPr>
        <p:spPr>
          <a:xfrm>
            <a:off x="300942" y="277792"/>
            <a:ext cx="6944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A07E550-1A1C-5C07-7264-1016B4F0DA74}"/>
              </a:ext>
            </a:extLst>
          </p:cNvPr>
          <p:cNvSpPr txBox="1"/>
          <p:nvPr/>
        </p:nvSpPr>
        <p:spPr>
          <a:xfrm>
            <a:off x="6686942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2A275A-7A25-EA07-83E4-2260AEA5EA47}"/>
              </a:ext>
            </a:extLst>
          </p:cNvPr>
          <p:cNvSpPr txBox="1"/>
          <p:nvPr/>
        </p:nvSpPr>
        <p:spPr>
          <a:xfrm>
            <a:off x="1183230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E59FDA-6833-4CF0-CECE-53B98FE8FD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1797205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877CABD-CE43-52F3-4B8A-DB97C5D569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1796676"/>
            <a:ext cx="3341176" cy="262018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5EE68DE-B2C1-0E35-5190-057ACBE6C913}"/>
              </a:ext>
            </a:extLst>
          </p:cNvPr>
          <p:cNvSpPr/>
          <p:nvPr/>
        </p:nvSpPr>
        <p:spPr>
          <a:xfrm>
            <a:off x="7980217" y="2230586"/>
            <a:ext cx="2187989" cy="218627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DC7FCE-1047-5CCA-3FB7-8F616082D2EF}"/>
              </a:ext>
            </a:extLst>
          </p:cNvPr>
          <p:cNvSpPr/>
          <p:nvPr/>
        </p:nvSpPr>
        <p:spPr>
          <a:xfrm>
            <a:off x="2507673" y="1793240"/>
            <a:ext cx="2086910" cy="1631795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5A5B2D-CD5A-A5F0-A99D-A62677A087EE}"/>
              </a:ext>
            </a:extLst>
          </p:cNvPr>
          <p:cNvSpPr txBox="1"/>
          <p:nvPr/>
        </p:nvSpPr>
        <p:spPr>
          <a:xfrm>
            <a:off x="797513" y="4878003"/>
            <a:ext cx="1028612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 err="1">
                <a:solidFill>
                  <a:srgbClr val="5079C1"/>
                </a:solidFill>
                <a:latin typeface="Monaco" pitchFamily="2" charset="77"/>
              </a:rPr>
              <a:t>Long_data</a:t>
            </a:r>
            <a:r>
              <a:rPr lang="en-US" sz="2400" dirty="0">
                <a:solidFill>
                  <a:srgbClr val="5079C1"/>
                </a:solidFill>
                <a:latin typeface="Monaco" pitchFamily="2" charset="77"/>
              </a:rPr>
              <a:t> </a:t>
            </a:r>
            <a:r>
              <a:rPr lang="en-US" sz="2400" dirty="0">
                <a:latin typeface="Monaco" pitchFamily="2" charset="77"/>
              </a:rPr>
              <a:t>&lt;- </a:t>
            </a:r>
            <a:r>
              <a:rPr lang="en-US" sz="2400" dirty="0" err="1">
                <a:solidFill>
                  <a:schemeClr val="accent2">
                    <a:lumMod val="75000"/>
                  </a:schemeClr>
                </a:solidFill>
                <a:latin typeface="Monaco" pitchFamily="2" charset="77"/>
              </a:rPr>
              <a:t>Wide_data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Monaco" pitchFamily="2" charset="77"/>
              </a:rPr>
              <a:t> </a:t>
            </a:r>
            <a:r>
              <a:rPr lang="en-US" sz="2400" dirty="0">
                <a:latin typeface="Monaco" pitchFamily="2" charset="77"/>
              </a:rPr>
              <a:t>|&gt;</a:t>
            </a:r>
          </a:p>
          <a:p>
            <a:r>
              <a:rPr lang="en-US" sz="2400" dirty="0">
                <a:latin typeface="Monaco" pitchFamily="2" charset="77"/>
              </a:rPr>
              <a:t>			</a:t>
            </a:r>
            <a:r>
              <a:rPr lang="en-US" sz="2400" dirty="0" err="1">
                <a:latin typeface="Monaco" pitchFamily="2" charset="77"/>
              </a:rPr>
              <a:t>pivot_longer</a:t>
            </a:r>
            <a:r>
              <a:rPr lang="en-US" sz="2400" dirty="0">
                <a:latin typeface="Monaco" pitchFamily="2" charset="77"/>
              </a:rPr>
              <a:t>(</a:t>
            </a:r>
            <a:r>
              <a:rPr lang="en-US" sz="2400" dirty="0" err="1">
                <a:latin typeface="Monaco" pitchFamily="2" charset="77"/>
              </a:rPr>
              <a:t>names_to</a:t>
            </a:r>
            <a:r>
              <a:rPr lang="en-US" sz="2400" dirty="0">
                <a:latin typeface="Monaco" pitchFamily="2" charset="77"/>
              </a:rPr>
              <a:t> = sex, </a:t>
            </a:r>
          </a:p>
          <a:p>
            <a:r>
              <a:rPr lang="en-US" sz="2400" dirty="0">
                <a:latin typeface="Monaco" pitchFamily="2" charset="77"/>
              </a:rPr>
              <a:t>                               </a:t>
            </a:r>
            <a:r>
              <a:rPr lang="en-US" sz="2400" dirty="0" err="1">
                <a:latin typeface="Monaco" pitchFamily="2" charset="77"/>
              </a:rPr>
              <a:t>values_to</a:t>
            </a:r>
            <a:r>
              <a:rPr lang="en-US" sz="2400" dirty="0">
                <a:latin typeface="Monaco" pitchFamily="2" charset="77"/>
              </a:rPr>
              <a:t> = number)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A05AED5-4D4D-86C8-A831-917677A77D57}"/>
              </a:ext>
            </a:extLst>
          </p:cNvPr>
          <p:cNvCxnSpPr/>
          <p:nvPr/>
        </p:nvCxnSpPr>
        <p:spPr>
          <a:xfrm>
            <a:off x="5034807" y="2707920"/>
            <a:ext cx="1402080" cy="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4829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A7F4AB0-766C-E5E9-892D-3E6BBE9DAC92}"/>
              </a:ext>
            </a:extLst>
          </p:cNvPr>
          <p:cNvSpPr txBox="1"/>
          <p:nvPr/>
        </p:nvSpPr>
        <p:spPr>
          <a:xfrm>
            <a:off x="1766371" y="2883840"/>
            <a:ext cx="6673307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+mj-lt"/>
                <a:cs typeface="Arial" panose="020B0604020202020204" pitchFamily="34" charset="0"/>
              </a:rPr>
              <a:t>Lauren Nichols</a:t>
            </a:r>
          </a:p>
          <a:p>
            <a:r>
              <a:rPr lang="en-US" sz="2000" dirty="0">
                <a:latin typeface="+mj-lt"/>
                <a:cs typeface="Arial" panose="020B0604020202020204" pitchFamily="34" charset="0"/>
              </a:rPr>
              <a:t>Center for Data and Visualization Sciences – Duke Libraries</a:t>
            </a:r>
          </a:p>
          <a:p>
            <a:endParaRPr lang="en-US" sz="2000" dirty="0">
              <a:latin typeface="+mj-lt"/>
              <a:cs typeface="Arial" panose="020B0604020202020204" pitchFamily="34" charset="0"/>
            </a:endParaRPr>
          </a:p>
          <a:p>
            <a:r>
              <a:rPr lang="en-US" sz="2000" dirty="0">
                <a:latin typeface="+mj-lt"/>
                <a:cs typeface="Arial" panose="020B0604020202020204" pitchFamily="34" charset="0"/>
                <a:hlinkClick r:id="rId3"/>
              </a:rPr>
              <a:t>Lmn7@duke.edu</a:t>
            </a: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endParaRPr lang="en-US" dirty="0">
              <a:latin typeface="+mj-lt"/>
              <a:cs typeface="Arial" panose="020B0604020202020204" pitchFamily="34" charset="0"/>
            </a:endParaRPr>
          </a:p>
          <a:p>
            <a:r>
              <a:rPr lang="en-US" sz="1600" dirty="0">
                <a:latin typeface="+mj-lt"/>
                <a:cs typeface="Arial" panose="020B0604020202020204" pitchFamily="34" charset="0"/>
              </a:rPr>
              <a:t>Jan 30, 2026</a:t>
            </a:r>
            <a:endParaRPr lang="en-US" sz="12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0EB0A4B-667D-68D4-BB15-406FC4264B62}"/>
              </a:ext>
            </a:extLst>
          </p:cNvPr>
          <p:cNvSpPr txBox="1"/>
          <p:nvPr/>
        </p:nvSpPr>
        <p:spPr>
          <a:xfrm>
            <a:off x="1766371" y="870332"/>
            <a:ext cx="865925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Visualizing Data </a:t>
            </a:r>
          </a:p>
          <a:p>
            <a:r>
              <a:rPr lang="en-US" sz="4400" dirty="0"/>
              <a:t>in R using </a:t>
            </a:r>
            <a:r>
              <a:rPr lang="en-US" sz="4400" b="1" dirty="0"/>
              <a:t>ggplot2</a:t>
            </a:r>
            <a:endParaRPr lang="en-US" sz="4000" b="1" dirty="0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D4C6F4AC-19B3-3A76-3A74-C51DA527F5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2987" y="769910"/>
            <a:ext cx="2332642" cy="2692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BA1614B-5A6C-89B1-0C06-4BEB9E1B20FD}"/>
              </a:ext>
            </a:extLst>
          </p:cNvPr>
          <p:cNvSpPr txBox="1"/>
          <p:nvPr/>
        </p:nvSpPr>
        <p:spPr>
          <a:xfrm>
            <a:off x="2168769" y="5420568"/>
            <a:ext cx="78544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/>
              <a:t>https://</a:t>
            </a:r>
            <a:r>
              <a:rPr lang="en-US" sz="3600" dirty="0" err="1"/>
              <a:t>tinyurl.com</a:t>
            </a:r>
            <a:r>
              <a:rPr lang="en-US" sz="3600" dirty="0"/>
              <a:t>/ggplot2fall25</a:t>
            </a:r>
          </a:p>
        </p:txBody>
      </p:sp>
    </p:spTree>
    <p:extLst>
      <p:ext uri="{BB962C8B-B14F-4D97-AF65-F5344CB8AC3E}">
        <p14:creationId xmlns:p14="http://schemas.microsoft.com/office/powerpoint/2010/main" val="30777331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graph&#10;&#10;AI-generated content may be incorrect.">
            <a:extLst>
              <a:ext uri="{FF2B5EF4-FFF2-40B4-BE49-F238E27FC236}">
                <a16:creationId xmlns:a16="http://schemas.microsoft.com/office/drawing/2014/main" id="{BA0442EC-3D8B-B866-99EF-B3A923F539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4090" y="1997960"/>
            <a:ext cx="7772400" cy="434166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219183D-EEBE-A091-7698-FEAD274E2A4E}"/>
              </a:ext>
            </a:extLst>
          </p:cNvPr>
          <p:cNvSpPr txBox="1"/>
          <p:nvPr/>
        </p:nvSpPr>
        <p:spPr>
          <a:xfrm>
            <a:off x="854439" y="914400"/>
            <a:ext cx="61759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happy &lt;- </a:t>
            </a:r>
            <a:r>
              <a:rPr lang="en-US" dirty="0" err="1">
                <a:latin typeface="Monaco" pitchFamily="2" charset="77"/>
              </a:rPr>
              <a:t>read_csv</a:t>
            </a:r>
            <a:r>
              <a:rPr lang="en-US" dirty="0">
                <a:latin typeface="Monaco" pitchFamily="2" charset="77"/>
              </a:rPr>
              <a:t>("</a:t>
            </a:r>
            <a:r>
              <a:rPr lang="en-US" dirty="0" err="1">
                <a:latin typeface="Monaco" pitchFamily="2" charset="77"/>
              </a:rPr>
              <a:t>Happiness.csv</a:t>
            </a:r>
            <a:r>
              <a:rPr lang="en-US" dirty="0">
                <a:latin typeface="Monaco" pitchFamily="2" charset="77"/>
              </a:rPr>
              <a:t>")</a:t>
            </a:r>
          </a:p>
          <a:p>
            <a:endParaRPr lang="en-US" dirty="0">
              <a:latin typeface="Monaco" pitchFamily="2" charset="77"/>
            </a:endParaRPr>
          </a:p>
          <a:p>
            <a:r>
              <a:rPr lang="en-US" dirty="0">
                <a:latin typeface="Monaco" pitchFamily="2" charset="77"/>
              </a:rPr>
              <a:t>happy</a:t>
            </a:r>
          </a:p>
        </p:txBody>
      </p:sp>
    </p:spTree>
    <p:extLst>
      <p:ext uri="{BB962C8B-B14F-4D97-AF65-F5344CB8AC3E}">
        <p14:creationId xmlns:p14="http://schemas.microsoft.com/office/powerpoint/2010/main" val="30748876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85FD97-1C41-CC2E-12E1-9A1BC0B6AD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graph&#10;&#10;AI-generated content may be incorrect.">
            <a:extLst>
              <a:ext uri="{FF2B5EF4-FFF2-40B4-BE49-F238E27FC236}">
                <a16:creationId xmlns:a16="http://schemas.microsoft.com/office/drawing/2014/main" id="{ABBE06A3-DCFC-2974-9F37-1FB8E10646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4090" y="1997960"/>
            <a:ext cx="7772400" cy="434166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1CB84D6-4E29-901A-DB53-05EEA1D48513}"/>
              </a:ext>
            </a:extLst>
          </p:cNvPr>
          <p:cNvSpPr txBox="1"/>
          <p:nvPr/>
        </p:nvSpPr>
        <p:spPr>
          <a:xfrm>
            <a:off x="854439" y="914400"/>
            <a:ext cx="61759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happy &lt;- </a:t>
            </a:r>
            <a:r>
              <a:rPr lang="en-US" dirty="0" err="1">
                <a:latin typeface="Monaco" pitchFamily="2" charset="77"/>
              </a:rPr>
              <a:t>read_csv</a:t>
            </a:r>
            <a:r>
              <a:rPr lang="en-US" dirty="0">
                <a:latin typeface="Monaco" pitchFamily="2" charset="77"/>
              </a:rPr>
              <a:t>("</a:t>
            </a:r>
            <a:r>
              <a:rPr lang="en-US" dirty="0" err="1">
                <a:latin typeface="Monaco" pitchFamily="2" charset="77"/>
              </a:rPr>
              <a:t>Happiness.csv</a:t>
            </a:r>
            <a:r>
              <a:rPr lang="en-US" dirty="0">
                <a:latin typeface="Monaco" pitchFamily="2" charset="77"/>
              </a:rPr>
              <a:t>")</a:t>
            </a:r>
          </a:p>
          <a:p>
            <a:endParaRPr lang="en-US" dirty="0">
              <a:latin typeface="Monaco" pitchFamily="2" charset="77"/>
            </a:endParaRPr>
          </a:p>
          <a:p>
            <a:r>
              <a:rPr lang="en-US" dirty="0">
                <a:latin typeface="Monaco" pitchFamily="2" charset="77"/>
              </a:rPr>
              <a:t>happ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704D549-C89D-8502-7FDB-D3A118C9509A}"/>
              </a:ext>
            </a:extLst>
          </p:cNvPr>
          <p:cNvSpPr/>
          <p:nvPr/>
        </p:nvSpPr>
        <p:spPr>
          <a:xfrm>
            <a:off x="6677117" y="2489866"/>
            <a:ext cx="2841637" cy="3453734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6451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A9DA92-3EB7-3AAC-9DAE-CB8705D579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51DB7EDC-969A-4259-C1C8-959F412E982B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3B26D09-58EE-F620-7606-994861B17A81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BBF0FD13-EDC0-49BA-1BAD-380AED1F77FF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521B4FEC-D1ED-CF8D-FE0A-6C9D0FF0FCB0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6590284-B1A9-718F-4FEF-EAEF3262431A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87DDFFE-BF37-4225-DEC1-70C765505B97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C5626BE-266A-81EF-3C79-5E0158BDF9CC}"/>
              </a:ext>
            </a:extLst>
          </p:cNvPr>
          <p:cNvSpPr/>
          <p:nvPr/>
        </p:nvSpPr>
        <p:spPr>
          <a:xfrm>
            <a:off x="1383707" y="2061107"/>
            <a:ext cx="5499440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1090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B15EE5-8616-4385-3A90-5E1037F9DE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DD557A86-A041-CE5B-49DB-FAD7BA4CC553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4D24758A-E651-36A2-A069-DC13439228EC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0805DF66-0DD8-3D79-4998-EA5EB984E980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B62E8228-0084-B37B-E42A-2D2F3E6AFA1C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6F696E3-76BE-9B19-9F82-92B4C1E505E2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683177D-3E91-0074-E0DD-6D594FA4A48B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C17B12-1A85-A49E-3CAF-C9D137FBFBE2}"/>
              </a:ext>
            </a:extLst>
          </p:cNvPr>
          <p:cNvSpPr/>
          <p:nvPr/>
        </p:nvSpPr>
        <p:spPr>
          <a:xfrm>
            <a:off x="1383707" y="2061107"/>
            <a:ext cx="5499440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187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4FD95C-0E1B-1BB7-4E6A-D0ADD855CD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393C049F-B8A9-3690-4B00-986539B424A3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74760223-BE73-D9DA-9F35-D5AFC9A4F7E5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41151D93-9E8C-E512-3254-6E98326CD3D6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FFA8AB38-73F4-0DFD-33FF-9A0C3AF2B02A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39EA6C2-7A69-8DF1-9E3E-F6575408F1B4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1031E78-9F20-D37A-6259-C829367B2945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F9C8808-1E64-475B-C30A-2A7A09C9C8AE}"/>
              </a:ext>
            </a:extLst>
          </p:cNvPr>
          <p:cNvSpPr/>
          <p:nvPr/>
        </p:nvSpPr>
        <p:spPr>
          <a:xfrm>
            <a:off x="1367687" y="2545322"/>
            <a:ext cx="5499440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216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8E4101-3F03-33CB-BEB7-7874C02B83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graph&#10;&#10;AI-generated content may be incorrect.">
            <a:extLst>
              <a:ext uri="{FF2B5EF4-FFF2-40B4-BE49-F238E27FC236}">
                <a16:creationId xmlns:a16="http://schemas.microsoft.com/office/drawing/2014/main" id="{D03B1145-4C8E-FD79-B3BD-4781292D87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9041" y="1398354"/>
            <a:ext cx="7772400" cy="434166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EC6E9B-9C7F-3E51-8201-F5BFC397E073}"/>
              </a:ext>
            </a:extLst>
          </p:cNvPr>
          <p:cNvSpPr txBox="1"/>
          <p:nvPr/>
        </p:nvSpPr>
        <p:spPr>
          <a:xfrm>
            <a:off x="929390" y="314794"/>
            <a:ext cx="61759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latin typeface="Monaco" pitchFamily="2" charset="77"/>
            </a:endParaRPr>
          </a:p>
          <a:p>
            <a:r>
              <a:rPr lang="en-US" dirty="0">
                <a:latin typeface="Monaco" pitchFamily="2" charset="77"/>
              </a:rPr>
              <a:t>happ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0C7954-67C4-171D-B452-952C2B15D5C7}"/>
              </a:ext>
            </a:extLst>
          </p:cNvPr>
          <p:cNvSpPr/>
          <p:nvPr/>
        </p:nvSpPr>
        <p:spPr>
          <a:xfrm>
            <a:off x="6752068" y="1890260"/>
            <a:ext cx="2841637" cy="3453734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9881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D26893-29D3-BFDF-E641-14C70D701F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CAB2220F-6317-C190-4EA5-0FAB71F6CBFD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DD13351C-D18E-0E2E-E617-22F71325D7CB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1082CA0-D0B2-0244-1099-61A4AFAC54EE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,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FB48CE53-1A85-C4D8-4D5B-5F103219935D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65ADD55-14E3-62C5-7B68-F6448CF4977E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1CF93EC-9B17-E457-A41C-89EDAD3FF90F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5531839-4E70-AEDB-8B25-5B6025FD4BD7}"/>
              </a:ext>
            </a:extLst>
          </p:cNvPr>
          <p:cNvSpPr/>
          <p:nvPr/>
        </p:nvSpPr>
        <p:spPr>
          <a:xfrm>
            <a:off x="1367687" y="2545322"/>
            <a:ext cx="5499440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0026FBB-07B5-D9E0-A090-54107121DBBF}"/>
              </a:ext>
            </a:extLst>
          </p:cNvPr>
          <p:cNvSpPr/>
          <p:nvPr/>
        </p:nvSpPr>
        <p:spPr>
          <a:xfrm>
            <a:off x="6503988" y="2010673"/>
            <a:ext cx="777584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9648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FE002C-DC78-5C6A-4735-5A50A97EF4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EE9FC409-7A43-C406-185F-32C39A9283E4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0AD6884B-4925-A069-8CFE-4D82FA5335C3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67C9DC31-6076-7816-0F6F-462A8261CAD6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,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F4EC92D4-2CE9-F668-AFB1-92F3139FC8B3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287658F-23E6-44B1-2262-98159F2680D4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07630EB-41D0-6609-D4D5-322493305B59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46AF00-3333-A944-66AC-306B23503264}"/>
              </a:ext>
            </a:extLst>
          </p:cNvPr>
          <p:cNvSpPr/>
          <p:nvPr/>
        </p:nvSpPr>
        <p:spPr>
          <a:xfrm>
            <a:off x="1367687" y="2545322"/>
            <a:ext cx="5499440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5EC9233-BB57-D03F-6802-DEA507FBB7E2}"/>
              </a:ext>
            </a:extLst>
          </p:cNvPr>
          <p:cNvSpPr/>
          <p:nvPr/>
        </p:nvSpPr>
        <p:spPr>
          <a:xfrm>
            <a:off x="6503988" y="2010673"/>
            <a:ext cx="777584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818C87-FED3-22D5-233E-7956CE98B5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0630" y="1492363"/>
            <a:ext cx="5061519" cy="482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74282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050922-1AED-B120-BB9E-2521EF71A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ED8A810B-B49A-479D-B08A-1DA585E4A3E9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DC9BE05F-C403-9DFF-5F1F-EE454F0BFEA2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4138C7A-0628-40E7-AD48-3C519FD2A0FC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,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95AAD03-D776-2059-75E5-16A0B73201F8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008EBFA-6D8B-16F2-6FA3-857A47A2B620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6C69E5-3207-0350-E21E-56AAFF75A9D4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ECEFF7C-CF75-A5DF-2FCC-36CF58342CFD}"/>
              </a:ext>
            </a:extLst>
          </p:cNvPr>
          <p:cNvSpPr/>
          <p:nvPr/>
        </p:nvSpPr>
        <p:spPr>
          <a:xfrm>
            <a:off x="1297701" y="3534673"/>
            <a:ext cx="5499440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ECF879F-9639-2C45-D84D-F2EF5F2F33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0630" y="1492363"/>
            <a:ext cx="5061519" cy="482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3767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D3ACACEB-1971-E7E8-E85A-8A2FD0934B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2ED889-6228-9723-3B11-46FC6954EA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1471" y="2032009"/>
            <a:ext cx="6398986" cy="482599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4E50568-817C-2408-841E-266B04B3C612}"/>
              </a:ext>
            </a:extLst>
          </p:cNvPr>
          <p:cNvSpPr txBox="1"/>
          <p:nvPr/>
        </p:nvSpPr>
        <p:spPr>
          <a:xfrm>
            <a:off x="179563" y="1191313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A246CCC8-EBD3-A790-9538-3348CFAA8DD2}"/>
              </a:ext>
            </a:extLst>
          </p:cNvPr>
          <p:cNvSpPr/>
          <p:nvPr/>
        </p:nvSpPr>
        <p:spPr>
          <a:xfrm>
            <a:off x="1367851" y="1194659"/>
            <a:ext cx="214278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8243495-2BB0-D83F-6341-E7BA8DF1533D}"/>
              </a:ext>
            </a:extLst>
          </p:cNvPr>
          <p:cNvSpPr/>
          <p:nvPr/>
        </p:nvSpPr>
        <p:spPr>
          <a:xfrm>
            <a:off x="1367851" y="2420037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3CB9F8C-53A4-E949-8612-A9EB8B4D0CBE}"/>
              </a:ext>
            </a:extLst>
          </p:cNvPr>
          <p:cNvSpPr txBox="1"/>
          <p:nvPr/>
        </p:nvSpPr>
        <p:spPr>
          <a:xfrm>
            <a:off x="3397203" y="1179010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027C9D73-070C-A0BF-73C6-1D137FD1F93D}"/>
              </a:ext>
            </a:extLst>
          </p:cNvPr>
          <p:cNvSpPr/>
          <p:nvPr/>
        </p:nvSpPr>
        <p:spPr>
          <a:xfrm>
            <a:off x="1367851" y="1813688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C26998D-0649-553D-C61E-ED58F9360638}"/>
              </a:ext>
            </a:extLst>
          </p:cNvPr>
          <p:cNvSpPr txBox="1"/>
          <p:nvPr/>
        </p:nvSpPr>
        <p:spPr>
          <a:xfrm>
            <a:off x="4528815" y="1776088"/>
            <a:ext cx="553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Monaco" pitchFamily="2" charset="77"/>
              </a:rPr>
              <a:t>)+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7223511-F3B7-556B-6CDE-E231ED6DABD1}"/>
              </a:ext>
            </a:extLst>
          </p:cNvPr>
          <p:cNvSpPr/>
          <p:nvPr/>
        </p:nvSpPr>
        <p:spPr>
          <a:xfrm>
            <a:off x="551543" y="2246793"/>
            <a:ext cx="4641301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4103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Eric Monson">
            <a:extLst>
              <a:ext uri="{FF2B5EF4-FFF2-40B4-BE49-F238E27FC236}">
                <a16:creationId xmlns:a16="http://schemas.microsoft.com/office/drawing/2014/main" id="{D7B62AE0-29E5-88C6-34AF-11D1666E04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7" r="2" b="29168"/>
          <a:stretch/>
        </p:blipFill>
        <p:spPr bwMode="auto">
          <a:xfrm>
            <a:off x="6002020" y="4162899"/>
            <a:ext cx="2248868" cy="2248868"/>
          </a:xfrm>
          <a:custGeom>
            <a:avLst/>
            <a:gdLst/>
            <a:ahLst/>
            <a:cxnLst/>
            <a:rect l="l" t="t" r="r" b="b"/>
            <a:pathLst>
              <a:path w="2849586" h="2849586">
                <a:moveTo>
                  <a:pt x="1424793" y="0"/>
                </a:moveTo>
                <a:cubicBezTo>
                  <a:pt x="2211684" y="0"/>
                  <a:pt x="2849586" y="637902"/>
                  <a:pt x="2849586" y="1424793"/>
                </a:cubicBezTo>
                <a:cubicBezTo>
                  <a:pt x="2849586" y="2211684"/>
                  <a:pt x="2211684" y="2849586"/>
                  <a:pt x="1424793" y="2849586"/>
                </a:cubicBezTo>
                <a:cubicBezTo>
                  <a:pt x="637902" y="2849586"/>
                  <a:pt x="0" y="2211684"/>
                  <a:pt x="0" y="1424793"/>
                </a:cubicBezTo>
                <a:cubicBezTo>
                  <a:pt x="0" y="637902"/>
                  <a:pt x="637902" y="0"/>
                  <a:pt x="1424793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McCall Pitcher">
            <a:extLst>
              <a:ext uri="{FF2B5EF4-FFF2-40B4-BE49-F238E27FC236}">
                <a16:creationId xmlns:a16="http://schemas.microsoft.com/office/drawing/2014/main" id="{25FEB2AD-AB84-3D51-E6C9-829060BE34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50" r="-1" b="11249"/>
          <a:stretch/>
        </p:blipFill>
        <p:spPr bwMode="auto">
          <a:xfrm>
            <a:off x="6002020" y="1548203"/>
            <a:ext cx="2248868" cy="2248868"/>
          </a:xfrm>
          <a:custGeom>
            <a:avLst/>
            <a:gdLst/>
            <a:ahLst/>
            <a:cxnLst/>
            <a:rect l="l" t="t" r="r" b="b"/>
            <a:pathLst>
              <a:path w="2849586" h="2849586">
                <a:moveTo>
                  <a:pt x="1424793" y="0"/>
                </a:moveTo>
                <a:cubicBezTo>
                  <a:pt x="2211684" y="0"/>
                  <a:pt x="2849586" y="637902"/>
                  <a:pt x="2849586" y="1424793"/>
                </a:cubicBezTo>
                <a:cubicBezTo>
                  <a:pt x="2849586" y="2211684"/>
                  <a:pt x="2211684" y="2849586"/>
                  <a:pt x="1424793" y="2849586"/>
                </a:cubicBezTo>
                <a:cubicBezTo>
                  <a:pt x="637902" y="2849586"/>
                  <a:pt x="0" y="2211684"/>
                  <a:pt x="0" y="1424793"/>
                </a:cubicBezTo>
                <a:cubicBezTo>
                  <a:pt x="0" y="637902"/>
                  <a:pt x="637902" y="0"/>
                  <a:pt x="1424793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Lauren Nichols">
            <a:extLst>
              <a:ext uri="{FF2B5EF4-FFF2-40B4-BE49-F238E27FC236}">
                <a16:creationId xmlns:a16="http://schemas.microsoft.com/office/drawing/2014/main" id="{05AD2BA2-77A6-D1CC-EE07-3AEB7EF89A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000"/>
          <a:stretch/>
        </p:blipFill>
        <p:spPr bwMode="auto">
          <a:xfrm>
            <a:off x="3096659" y="1548203"/>
            <a:ext cx="2248868" cy="2248868"/>
          </a:xfrm>
          <a:custGeom>
            <a:avLst/>
            <a:gdLst/>
            <a:ahLst/>
            <a:cxnLst/>
            <a:rect l="l" t="t" r="r" b="b"/>
            <a:pathLst>
              <a:path w="2849586" h="2849586">
                <a:moveTo>
                  <a:pt x="1424793" y="0"/>
                </a:moveTo>
                <a:cubicBezTo>
                  <a:pt x="2211684" y="0"/>
                  <a:pt x="2849586" y="637902"/>
                  <a:pt x="2849586" y="1424793"/>
                </a:cubicBezTo>
                <a:cubicBezTo>
                  <a:pt x="2849586" y="2211684"/>
                  <a:pt x="2211684" y="2849586"/>
                  <a:pt x="1424793" y="2849586"/>
                </a:cubicBezTo>
                <a:cubicBezTo>
                  <a:pt x="637902" y="2849586"/>
                  <a:pt x="0" y="2211684"/>
                  <a:pt x="0" y="1424793"/>
                </a:cubicBezTo>
                <a:cubicBezTo>
                  <a:pt x="0" y="637902"/>
                  <a:pt x="637902" y="0"/>
                  <a:pt x="1424793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9A8775A-3ECA-D41F-30E7-6AC787CF299B}"/>
              </a:ext>
            </a:extLst>
          </p:cNvPr>
          <p:cNvSpPr txBox="1"/>
          <p:nvPr/>
        </p:nvSpPr>
        <p:spPr>
          <a:xfrm>
            <a:off x="2561190" y="-49610"/>
            <a:ext cx="835510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Data Visualization Specialists</a:t>
            </a:r>
          </a:p>
        </p:txBody>
      </p:sp>
      <p:pic>
        <p:nvPicPr>
          <p:cNvPr id="1032" name="Picture 8" descr="Center for Data and Visualization Sciences">
            <a:extLst>
              <a:ext uri="{FF2B5EF4-FFF2-40B4-BE49-F238E27FC236}">
                <a16:creationId xmlns:a16="http://schemas.microsoft.com/office/drawing/2014/main" id="{6A03409D-66F5-F4A0-8CA2-4DD58C6BEE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1100" y="12968"/>
            <a:ext cx="2120900" cy="196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874B96-068D-C80D-FE28-C7833AD8AA41}"/>
              </a:ext>
            </a:extLst>
          </p:cNvPr>
          <p:cNvSpPr txBox="1"/>
          <p:nvPr/>
        </p:nvSpPr>
        <p:spPr>
          <a:xfrm>
            <a:off x="301321" y="2102681"/>
            <a:ext cx="262782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dirty="0"/>
              <a:t>Lauren </a:t>
            </a:r>
          </a:p>
          <a:p>
            <a:pPr algn="r"/>
            <a:r>
              <a:rPr lang="en-US" sz="3200" dirty="0"/>
              <a:t>Nichols</a:t>
            </a:r>
          </a:p>
          <a:p>
            <a:pPr algn="r"/>
            <a:endParaRPr lang="en-US" sz="3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767501-F62F-9C6C-78E2-31441F0BD63C}"/>
              </a:ext>
            </a:extLst>
          </p:cNvPr>
          <p:cNvSpPr txBox="1"/>
          <p:nvPr/>
        </p:nvSpPr>
        <p:spPr>
          <a:xfrm>
            <a:off x="8418406" y="2049717"/>
            <a:ext cx="262782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McCall </a:t>
            </a:r>
          </a:p>
          <a:p>
            <a:r>
              <a:rPr lang="en-US" sz="3200" dirty="0"/>
              <a:t>Pitch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CE9880C-FB96-4FBE-D9A7-CAEED52F1395}"/>
              </a:ext>
            </a:extLst>
          </p:cNvPr>
          <p:cNvSpPr txBox="1"/>
          <p:nvPr/>
        </p:nvSpPr>
        <p:spPr>
          <a:xfrm>
            <a:off x="8418406" y="4545693"/>
            <a:ext cx="262782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Eric </a:t>
            </a:r>
          </a:p>
          <a:p>
            <a:r>
              <a:rPr lang="en-US" sz="3200" dirty="0"/>
              <a:t>Monson</a:t>
            </a:r>
          </a:p>
        </p:txBody>
      </p:sp>
      <p:pic>
        <p:nvPicPr>
          <p:cNvPr id="6" name="Picture 2" descr="Drew Keener | Staff Directory | Duke University Libraries">
            <a:extLst>
              <a:ext uri="{FF2B5EF4-FFF2-40B4-BE49-F238E27FC236}">
                <a16:creationId xmlns:a16="http://schemas.microsoft.com/office/drawing/2014/main" id="{B97599EA-DFAD-D204-9CFF-22228830A0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" t="4445" r="615" b="21523"/>
          <a:stretch/>
        </p:blipFill>
        <p:spPr bwMode="auto">
          <a:xfrm>
            <a:off x="3096659" y="4162899"/>
            <a:ext cx="2248868" cy="224886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8F51197-8DA1-A785-30D9-4754722F8B1A}"/>
              </a:ext>
            </a:extLst>
          </p:cNvPr>
          <p:cNvSpPr txBox="1"/>
          <p:nvPr/>
        </p:nvSpPr>
        <p:spPr>
          <a:xfrm>
            <a:off x="468839" y="4628936"/>
            <a:ext cx="262782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dirty="0"/>
              <a:t>Drew </a:t>
            </a:r>
          </a:p>
          <a:p>
            <a:pPr algn="r"/>
            <a:r>
              <a:rPr lang="en-US" sz="3200" dirty="0"/>
              <a:t>Keener</a:t>
            </a:r>
          </a:p>
          <a:p>
            <a:pPr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pp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0621E1-5770-2043-6492-AD24C6A848D3}"/>
              </a:ext>
            </a:extLst>
          </p:cNvPr>
          <p:cNvSpPr txBox="1"/>
          <p:nvPr/>
        </p:nvSpPr>
        <p:spPr>
          <a:xfrm>
            <a:off x="4008115" y="719831"/>
            <a:ext cx="62366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err="1">
                <a:solidFill>
                  <a:schemeClr val="accent2">
                    <a:lumMod val="75000"/>
                  </a:schemeClr>
                </a:solidFill>
              </a:rPr>
              <a:t>askdata@duke.edu</a:t>
            </a:r>
            <a:endParaRPr lang="en-US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7462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4CC28B65-D261-6C64-522C-30D71A533C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E9F66AA3-AD1A-4D71-B7CF-51846A3A16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1471" y="503088"/>
            <a:ext cx="6834956" cy="147811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F3F7628-888A-40F9-FC28-AF829DB72E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1471" y="2032009"/>
            <a:ext cx="6398986" cy="482599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9594FD7-D96F-8E7D-AB75-197B06751C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9199" y="2030294"/>
            <a:ext cx="6401258" cy="482770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B735A6A-8CCC-A7B5-726A-FE7F5D1AEB8D}"/>
              </a:ext>
            </a:extLst>
          </p:cNvPr>
          <p:cNvSpPr txBox="1"/>
          <p:nvPr/>
        </p:nvSpPr>
        <p:spPr>
          <a:xfrm>
            <a:off x="179563" y="1191313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5928F3A-D646-E115-B512-5B489DD6F0FB}"/>
              </a:ext>
            </a:extLst>
          </p:cNvPr>
          <p:cNvSpPr/>
          <p:nvPr/>
        </p:nvSpPr>
        <p:spPr>
          <a:xfrm>
            <a:off x="1367851" y="1194659"/>
            <a:ext cx="214278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269CCE63-4FED-323A-C899-F168B2A25F01}"/>
              </a:ext>
            </a:extLst>
          </p:cNvPr>
          <p:cNvSpPr/>
          <p:nvPr/>
        </p:nvSpPr>
        <p:spPr>
          <a:xfrm>
            <a:off x="1367851" y="2420037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D54C11E-E090-B8D5-71C6-A14AC27990E1}"/>
              </a:ext>
            </a:extLst>
          </p:cNvPr>
          <p:cNvSpPr txBox="1"/>
          <p:nvPr/>
        </p:nvSpPr>
        <p:spPr>
          <a:xfrm>
            <a:off x="3397203" y="1179010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BC846F42-37B9-2947-D90B-F2967D31F17F}"/>
              </a:ext>
            </a:extLst>
          </p:cNvPr>
          <p:cNvSpPr/>
          <p:nvPr/>
        </p:nvSpPr>
        <p:spPr>
          <a:xfrm>
            <a:off x="1367851" y="1813688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C41997C-82C5-F0F9-02FB-184AA91002CA}"/>
              </a:ext>
            </a:extLst>
          </p:cNvPr>
          <p:cNvSpPr txBox="1"/>
          <p:nvPr/>
        </p:nvSpPr>
        <p:spPr>
          <a:xfrm>
            <a:off x="4528815" y="1776088"/>
            <a:ext cx="553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Monaco" pitchFamily="2" charset="77"/>
              </a:rPr>
              <a:t>)+</a:t>
            </a:r>
          </a:p>
        </p:txBody>
      </p:sp>
    </p:spTree>
    <p:extLst>
      <p:ext uri="{BB962C8B-B14F-4D97-AF65-F5344CB8AC3E}">
        <p14:creationId xmlns:p14="http://schemas.microsoft.com/office/powerpoint/2010/main" val="16380097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42FF0C8-28B7-064F-EEB3-5BFDAB1A3265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B5430C49-86EB-8DA5-4683-CDF6E10C3C16}"/>
              </a:ext>
            </a:extLst>
          </p:cNvPr>
          <p:cNvSpPr/>
          <p:nvPr/>
        </p:nvSpPr>
        <p:spPr>
          <a:xfrm>
            <a:off x="1568139" y="2765022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geometry func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04A7C4-F91F-255E-AC47-4DFB5003AC4C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B5E5B08-4528-E098-C6E7-E04D0CD05444}"/>
              </a:ext>
            </a:extLst>
          </p:cNvPr>
          <p:cNvSpPr/>
          <p:nvPr/>
        </p:nvSpPr>
        <p:spPr>
          <a:xfrm>
            <a:off x="1568139" y="2239731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 axis, y axi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3C82FFB-DF17-1371-7893-18868DA401D4}"/>
              </a:ext>
            </a:extLst>
          </p:cNvPr>
          <p:cNvSpPr txBox="1"/>
          <p:nvPr/>
        </p:nvSpPr>
        <p:spPr>
          <a:xfrm>
            <a:off x="4745421" y="2206650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 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B9578D-BE3F-5FDC-65C0-310E8F75180E}"/>
              </a:ext>
            </a:extLst>
          </p:cNvPr>
          <p:cNvSpPr txBox="1"/>
          <p:nvPr/>
        </p:nvSpPr>
        <p:spPr>
          <a:xfrm>
            <a:off x="4010238" y="1652824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26F8802C-0438-98F5-C7C6-C9CB20CA75C9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0D1B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4433AC12-E4C2-6A8C-4703-0CCA3DFBD440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E2C2A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D6B59AB6-4901-8798-1FD3-F11D4842F729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92A7D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99380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D568847-E8EE-AEDA-3B4D-252D1B368F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90A1CC38-818B-CD5A-9217-B22B37E73D75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98F3F6-F4FF-719A-CC85-3995F89B8CC5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F3FFB4E-6D3B-16BE-CA56-3D95D8C41B30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9DFD95-D070-0354-AB64-2B931F239286}"/>
              </a:ext>
            </a:extLst>
          </p:cNvPr>
          <p:cNvSpPr txBox="1"/>
          <p:nvPr/>
        </p:nvSpPr>
        <p:spPr>
          <a:xfrm>
            <a:off x="379851" y="372879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Monaco" pitchFamily="2" charset="77"/>
              </a:rPr>
              <a:t>ggplo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Monaco" pitchFamily="2" charset="77"/>
              </a:rPr>
              <a:t>(	   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A402C0E1-DB9D-2CDB-F097-3D336CAB1044}"/>
              </a:ext>
            </a:extLst>
          </p:cNvPr>
          <p:cNvSpPr/>
          <p:nvPr/>
        </p:nvSpPr>
        <p:spPr>
          <a:xfrm>
            <a:off x="1568139" y="373213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0DCD892-2E44-F07E-F674-EA56AAC559DE}"/>
              </a:ext>
            </a:extLst>
          </p:cNvPr>
          <p:cNvSpPr/>
          <p:nvPr/>
        </p:nvSpPr>
        <p:spPr>
          <a:xfrm>
            <a:off x="1553004" y="4319980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2D64B9BF-4C9B-A32E-FDA7-DFFE941BADB0}"/>
              </a:ext>
            </a:extLst>
          </p:cNvPr>
          <p:cNvSpPr/>
          <p:nvPr/>
        </p:nvSpPr>
        <p:spPr>
          <a:xfrm>
            <a:off x="1568139" y="4846446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B347203-6C81-084D-7E64-610E4D1F4A06}"/>
              </a:ext>
            </a:extLst>
          </p:cNvPr>
          <p:cNvSpPr txBox="1"/>
          <p:nvPr/>
        </p:nvSpPr>
        <p:spPr>
          <a:xfrm>
            <a:off x="5364424" y="4298962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Monaco" pitchFamily="2" charset="77"/>
              </a:rPr>
              <a:t>) +	  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507936B-D511-40C4-D5C0-7A1DC098BFD2}"/>
              </a:ext>
            </a:extLst>
          </p:cNvPr>
          <p:cNvSpPr txBox="1"/>
          <p:nvPr/>
        </p:nvSpPr>
        <p:spPr>
          <a:xfrm>
            <a:off x="4007966" y="370295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02FA09-2B0C-BF41-9548-A9DBF16EF8A5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46F28C6B-65B3-549E-0D8F-83F1E73365A3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49B40092-E4C9-DA15-772F-B811BC5E05CF}"/>
              </a:ext>
            </a:extLst>
          </p:cNvPr>
          <p:cNvSpPr/>
          <p:nvPr/>
        </p:nvSpPr>
        <p:spPr>
          <a:xfrm>
            <a:off x="1568139" y="2765022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geometry func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7674D23-C804-986D-A7BA-86CB51F64F63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69780666-77CC-DB27-7753-F4A99724023D}"/>
              </a:ext>
            </a:extLst>
          </p:cNvPr>
          <p:cNvSpPr/>
          <p:nvPr/>
        </p:nvSpPr>
        <p:spPr>
          <a:xfrm>
            <a:off x="1568139" y="2239731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 axis, y axis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92A1F3-7FF0-B5E2-86B6-0634BF370193}"/>
              </a:ext>
            </a:extLst>
          </p:cNvPr>
          <p:cNvSpPr txBox="1"/>
          <p:nvPr/>
        </p:nvSpPr>
        <p:spPr>
          <a:xfrm>
            <a:off x="4745421" y="2206650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 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F1C2888-5898-999B-A26D-D0FBABBF316E}"/>
              </a:ext>
            </a:extLst>
          </p:cNvPr>
          <p:cNvSpPr txBox="1"/>
          <p:nvPr/>
        </p:nvSpPr>
        <p:spPr>
          <a:xfrm>
            <a:off x="4010238" y="1652824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E766C01B-B531-2363-6449-BF05BB7CE12C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0D1B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BD9984BA-2F26-7C3F-E9BF-E16C3EF10706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E2C2A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arallelogram 21">
            <a:extLst>
              <a:ext uri="{FF2B5EF4-FFF2-40B4-BE49-F238E27FC236}">
                <a16:creationId xmlns:a16="http://schemas.microsoft.com/office/drawing/2014/main" id="{CF38A9BD-EA81-3488-737C-D65EA6BA9EC7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92A7D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26189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632C8E7-73FA-DE9A-744F-A498F64BC2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3825" y="935048"/>
            <a:ext cx="4964386" cy="491571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89DFF59-6A7E-388F-FC2C-854B033C0E9D}"/>
              </a:ext>
            </a:extLst>
          </p:cNvPr>
          <p:cNvSpPr txBox="1"/>
          <p:nvPr/>
        </p:nvSpPr>
        <p:spPr>
          <a:xfrm>
            <a:off x="398928" y="98559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12DAED2-1AE6-47F1-291C-0699AB239FD8}"/>
              </a:ext>
            </a:extLst>
          </p:cNvPr>
          <p:cNvSpPr/>
          <p:nvPr/>
        </p:nvSpPr>
        <p:spPr>
          <a:xfrm>
            <a:off x="1587216" y="98893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F489E01-8B44-281D-4A51-01EDCCA16917}"/>
              </a:ext>
            </a:extLst>
          </p:cNvPr>
          <p:cNvSpPr/>
          <p:nvPr/>
        </p:nvSpPr>
        <p:spPr>
          <a:xfrm>
            <a:off x="1572081" y="1576780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4DC55FF-B265-9176-2FB0-BCB57D4B1E93}"/>
              </a:ext>
            </a:extLst>
          </p:cNvPr>
          <p:cNvSpPr/>
          <p:nvPr/>
        </p:nvSpPr>
        <p:spPr>
          <a:xfrm>
            <a:off x="1587216" y="2103246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2DAFE9-C688-7CF8-2D23-FC3E14A19012}"/>
              </a:ext>
            </a:extLst>
          </p:cNvPr>
          <p:cNvSpPr txBox="1"/>
          <p:nvPr/>
        </p:nvSpPr>
        <p:spPr>
          <a:xfrm>
            <a:off x="5383501" y="1555762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EE992D2-4CDB-38D5-E0F7-56B3291CB289}"/>
              </a:ext>
            </a:extLst>
          </p:cNvPr>
          <p:cNvSpPr txBox="1"/>
          <p:nvPr/>
        </p:nvSpPr>
        <p:spPr>
          <a:xfrm>
            <a:off x="4027043" y="95975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</p:spTree>
    <p:extLst>
      <p:ext uri="{BB962C8B-B14F-4D97-AF65-F5344CB8AC3E}">
        <p14:creationId xmlns:p14="http://schemas.microsoft.com/office/powerpoint/2010/main" val="261492545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graph of a line&#10;&#10;Description automatically generated with medium confidence">
            <a:extLst>
              <a:ext uri="{FF2B5EF4-FFF2-40B4-BE49-F238E27FC236}">
                <a16:creationId xmlns:a16="http://schemas.microsoft.com/office/drawing/2014/main" id="{49F8E165-4F54-427F-8976-08D88372F2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65319"/>
            <a:ext cx="5804780" cy="2942763"/>
          </a:xfrm>
          <a:prstGeom prst="rect">
            <a:avLst/>
          </a:prstGeom>
        </p:spPr>
      </p:pic>
      <p:pic>
        <p:nvPicPr>
          <p:cNvPr id="11" name="Picture 10" descr="A screenshot of a graph&#10;&#10;Description automatically generated">
            <a:extLst>
              <a:ext uri="{FF2B5EF4-FFF2-40B4-BE49-F238E27FC236}">
                <a16:creationId xmlns:a16="http://schemas.microsoft.com/office/drawing/2014/main" id="{4C2D3482-9722-27AF-DDD2-F78C0D985FE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92" t="49917" r="49397"/>
          <a:stretch/>
        </p:blipFill>
        <p:spPr>
          <a:xfrm>
            <a:off x="5608532" y="879520"/>
            <a:ext cx="2817256" cy="1435686"/>
          </a:xfrm>
          <a:prstGeom prst="rect">
            <a:avLst/>
          </a:prstGeom>
        </p:spPr>
      </p:pic>
      <p:pic>
        <p:nvPicPr>
          <p:cNvPr id="19" name="Picture 18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39CAB4C0-BC66-313B-AFF9-C3086EF283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606" r="34937" b="5402"/>
          <a:stretch/>
        </p:blipFill>
        <p:spPr>
          <a:xfrm>
            <a:off x="5547835" y="3614885"/>
            <a:ext cx="2776327" cy="1378863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5D3B10A0-DA2D-83A6-0F97-08DDEEBE5535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0C78DA6-D22A-481F-5A46-DEFC3290A178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Aesthetic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3BD323-52A1-7A80-0A85-C16CDB423271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tatistic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2F9ED5E-97D6-2DBD-CC57-95DC73AEA601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C48CC54-F380-0C33-FD37-8F9803A4F24A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5DD58ED3-64D4-37C4-1711-65AC52AE4CFB}"/>
              </a:ext>
            </a:extLst>
          </p:cNvPr>
          <p:cNvSpPr/>
          <p:nvPr/>
        </p:nvSpPr>
        <p:spPr>
          <a:xfrm rot="1070933" flipH="1">
            <a:off x="9717198" y="5508825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29A7DE3-33AC-3250-6B99-031EA943C5F2}"/>
              </a:ext>
            </a:extLst>
          </p:cNvPr>
          <p:cNvSpPr txBox="1"/>
          <p:nvPr/>
        </p:nvSpPr>
        <p:spPr>
          <a:xfrm>
            <a:off x="8106042" y="564845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FDA5BAB-5BAE-BCF7-5DAC-C0104FD9C1E6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pic>
        <p:nvPicPr>
          <p:cNvPr id="35" name="Picture 34" descr="A group of graphs on a white background&#10;&#10;Description automatically generated">
            <a:extLst>
              <a:ext uri="{FF2B5EF4-FFF2-40B4-BE49-F238E27FC236}">
                <a16:creationId xmlns:a16="http://schemas.microsoft.com/office/drawing/2014/main" id="{E438BC49-D9DC-E1E7-2C01-57E797C0F74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305"/>
          <a:stretch/>
        </p:blipFill>
        <p:spPr>
          <a:xfrm>
            <a:off x="34232" y="3474671"/>
            <a:ext cx="5574300" cy="2885812"/>
          </a:xfrm>
          <a:prstGeom prst="rect">
            <a:avLst/>
          </a:prstGeom>
        </p:spPr>
      </p:pic>
      <p:pic>
        <p:nvPicPr>
          <p:cNvPr id="36" name="Picture 35" descr="A screenshot of a graph&#10;&#10;Description automatically generated">
            <a:extLst>
              <a:ext uri="{FF2B5EF4-FFF2-40B4-BE49-F238E27FC236}">
                <a16:creationId xmlns:a16="http://schemas.microsoft.com/office/drawing/2014/main" id="{EC9A5A0B-7A05-368F-804F-C37007D5379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61" t="3478" r="3059" b="49917"/>
          <a:stretch/>
        </p:blipFill>
        <p:spPr>
          <a:xfrm>
            <a:off x="2919505" y="2232570"/>
            <a:ext cx="5404657" cy="1318442"/>
          </a:xfrm>
          <a:prstGeom prst="rect">
            <a:avLst/>
          </a:prstGeom>
        </p:spPr>
      </p:pic>
      <p:pic>
        <p:nvPicPr>
          <p:cNvPr id="37" name="Picture 36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D02BBB64-882F-A544-B8C3-F69599F48BC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3641" t="8606" r="3937" b="5402"/>
          <a:stretch/>
        </p:blipFill>
        <p:spPr>
          <a:xfrm>
            <a:off x="5558459" y="4921238"/>
            <a:ext cx="1383509" cy="1378863"/>
          </a:xfrm>
          <a:prstGeom prst="rect">
            <a:avLst/>
          </a:prstGeom>
        </p:spPr>
      </p:pic>
      <p:sp>
        <p:nvSpPr>
          <p:cNvPr id="8" name="Parallelogram 7">
            <a:extLst>
              <a:ext uri="{FF2B5EF4-FFF2-40B4-BE49-F238E27FC236}">
                <a16:creationId xmlns:a16="http://schemas.microsoft.com/office/drawing/2014/main" id="{560A2CD0-DE1D-D9AA-BC28-6DA255D92F65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790A6523-D8EF-90FC-DC22-0012826A58DD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A8D640F9-E9BD-8E7A-11C2-69F0FC76F882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A98DBF20-1F52-C865-C809-687099292313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0D1B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29AA09-122B-612B-A717-84E3B3683F16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96B8D5F2-61F1-7628-6A7D-B7A6B9C915D9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F74968-CA1A-1DDA-33E7-3548848D00B8}"/>
              </a:ext>
            </a:extLst>
          </p:cNvPr>
          <p:cNvSpPr txBox="1"/>
          <p:nvPr/>
        </p:nvSpPr>
        <p:spPr>
          <a:xfrm>
            <a:off x="4468872" y="4950183"/>
            <a:ext cx="1089587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b="1" dirty="0"/>
              <a:t>x + </a:t>
            </a:r>
            <a:r>
              <a:rPr lang="en-US" sz="1000" b="1" dirty="0" err="1"/>
              <a:t>geom_col</a:t>
            </a:r>
            <a:r>
              <a:rPr lang="en-US" sz="1000" b="1" dirty="0"/>
              <a:t>()</a:t>
            </a:r>
          </a:p>
        </p:txBody>
      </p:sp>
    </p:spTree>
    <p:extLst>
      <p:ext uri="{BB962C8B-B14F-4D97-AF65-F5344CB8AC3E}">
        <p14:creationId xmlns:p14="http://schemas.microsoft.com/office/powerpoint/2010/main" val="36786169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E5EBCDCD-4393-90B7-7661-3D5494F976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61665"/>
            <a:ext cx="13966188" cy="661066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834667E-AA44-043E-1414-42DB76F44EC1}"/>
              </a:ext>
            </a:extLst>
          </p:cNvPr>
          <p:cNvSpPr txBox="1"/>
          <p:nvPr/>
        </p:nvSpPr>
        <p:spPr>
          <a:xfrm>
            <a:off x="149902" y="74950"/>
            <a:ext cx="5399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Over 120 ggplot2 extension libraries</a:t>
            </a:r>
          </a:p>
        </p:txBody>
      </p:sp>
    </p:spTree>
    <p:extLst>
      <p:ext uri="{BB962C8B-B14F-4D97-AF65-F5344CB8AC3E}">
        <p14:creationId xmlns:p14="http://schemas.microsoft.com/office/powerpoint/2010/main" val="136764895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xagon 1">
            <a:extLst>
              <a:ext uri="{FF2B5EF4-FFF2-40B4-BE49-F238E27FC236}">
                <a16:creationId xmlns:a16="http://schemas.microsoft.com/office/drawing/2014/main" id="{743AAF9C-64ED-42DA-FE81-0DD836B64BF9}"/>
              </a:ext>
            </a:extLst>
          </p:cNvPr>
          <p:cNvSpPr/>
          <p:nvPr/>
        </p:nvSpPr>
        <p:spPr>
          <a:xfrm rot="5400000">
            <a:off x="6892013" y="1317885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Hexagon 2">
            <a:extLst>
              <a:ext uri="{FF2B5EF4-FFF2-40B4-BE49-F238E27FC236}">
                <a16:creationId xmlns:a16="http://schemas.microsoft.com/office/drawing/2014/main" id="{3E245088-C229-981F-348C-4D3C0DC05319}"/>
              </a:ext>
            </a:extLst>
          </p:cNvPr>
          <p:cNvSpPr/>
          <p:nvPr/>
        </p:nvSpPr>
        <p:spPr>
          <a:xfrm rot="5400000">
            <a:off x="5118236" y="1504163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Hexagon 3">
            <a:extLst>
              <a:ext uri="{FF2B5EF4-FFF2-40B4-BE49-F238E27FC236}">
                <a16:creationId xmlns:a16="http://schemas.microsoft.com/office/drawing/2014/main" id="{0BA62908-6396-AD01-AAC6-B00934492303}"/>
              </a:ext>
            </a:extLst>
          </p:cNvPr>
          <p:cNvSpPr/>
          <p:nvPr/>
        </p:nvSpPr>
        <p:spPr>
          <a:xfrm rot="5400000">
            <a:off x="6087673" y="4545382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105B9629-222F-D9D0-868F-F09ECB6F5106}"/>
              </a:ext>
            </a:extLst>
          </p:cNvPr>
          <p:cNvSpPr/>
          <p:nvPr/>
        </p:nvSpPr>
        <p:spPr>
          <a:xfrm rot="5400000">
            <a:off x="6843432" y="3936317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9F513010-830C-D15B-85E1-296014855F9A}"/>
              </a:ext>
            </a:extLst>
          </p:cNvPr>
          <p:cNvSpPr/>
          <p:nvPr/>
        </p:nvSpPr>
        <p:spPr>
          <a:xfrm rot="5400000">
            <a:off x="5995504" y="1468952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Hexagon 6">
            <a:extLst>
              <a:ext uri="{FF2B5EF4-FFF2-40B4-BE49-F238E27FC236}">
                <a16:creationId xmlns:a16="http://schemas.microsoft.com/office/drawing/2014/main" id="{23934DB2-9C04-A47A-2E38-3683EAF8B6DB}"/>
              </a:ext>
            </a:extLst>
          </p:cNvPr>
          <p:cNvSpPr/>
          <p:nvPr/>
        </p:nvSpPr>
        <p:spPr>
          <a:xfrm rot="5400000">
            <a:off x="6715790" y="2160286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D93B8110-1F11-D8FC-0909-4DBECCA6E03B}"/>
              </a:ext>
            </a:extLst>
          </p:cNvPr>
          <p:cNvSpPr/>
          <p:nvPr/>
        </p:nvSpPr>
        <p:spPr>
          <a:xfrm rot="5400000">
            <a:off x="4351017" y="3983670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BD9EE365-CF19-095A-4E6C-A45F33775E17}"/>
              </a:ext>
            </a:extLst>
          </p:cNvPr>
          <p:cNvSpPr/>
          <p:nvPr/>
        </p:nvSpPr>
        <p:spPr>
          <a:xfrm rot="5400000">
            <a:off x="5080536" y="4521707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B4C7E97D-A742-BA21-2F15-8BCB4B2B4F91}"/>
              </a:ext>
            </a:extLst>
          </p:cNvPr>
          <p:cNvSpPr/>
          <p:nvPr/>
        </p:nvSpPr>
        <p:spPr>
          <a:xfrm rot="5400000">
            <a:off x="4295632" y="1945381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AAB762EB-9CC7-7247-6C17-569655D4F39A}"/>
              </a:ext>
            </a:extLst>
          </p:cNvPr>
          <p:cNvSpPr/>
          <p:nvPr/>
        </p:nvSpPr>
        <p:spPr>
          <a:xfrm rot="5400000">
            <a:off x="4478331" y="1203383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0366C92D-716B-992E-C544-B8EE352A5337}"/>
              </a:ext>
            </a:extLst>
          </p:cNvPr>
          <p:cNvSpPr/>
          <p:nvPr/>
        </p:nvSpPr>
        <p:spPr>
          <a:xfrm rot="5400000">
            <a:off x="5592962" y="5241916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34C86488-0D0E-BEE4-D1D8-6DC059754290}"/>
              </a:ext>
            </a:extLst>
          </p:cNvPr>
          <p:cNvSpPr/>
          <p:nvPr/>
        </p:nvSpPr>
        <p:spPr>
          <a:xfrm rot="5400000">
            <a:off x="7025092" y="4777560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495CD731-5DDE-0652-B1F5-F3DF777D06E5}"/>
              </a:ext>
            </a:extLst>
          </p:cNvPr>
          <p:cNvSpPr/>
          <p:nvPr/>
        </p:nvSpPr>
        <p:spPr>
          <a:xfrm rot="5400000">
            <a:off x="5550139" y="830604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Hexagon 14">
            <a:extLst>
              <a:ext uri="{FF2B5EF4-FFF2-40B4-BE49-F238E27FC236}">
                <a16:creationId xmlns:a16="http://schemas.microsoft.com/office/drawing/2014/main" id="{40BA5560-4EF5-4AD2-2665-D006A27E83D5}"/>
              </a:ext>
            </a:extLst>
          </p:cNvPr>
          <p:cNvSpPr/>
          <p:nvPr/>
        </p:nvSpPr>
        <p:spPr>
          <a:xfrm rot="5400000">
            <a:off x="4307634" y="5000092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E18B355-60FB-0FA8-1F12-D50610BCAC93}"/>
              </a:ext>
            </a:extLst>
          </p:cNvPr>
          <p:cNvCxnSpPr>
            <a:cxnSpLocks/>
            <a:stCxn id="10" idx="5"/>
          </p:cNvCxnSpPr>
          <p:nvPr/>
        </p:nvCxnSpPr>
        <p:spPr>
          <a:xfrm>
            <a:off x="4729081" y="2278195"/>
            <a:ext cx="547932" cy="554856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34D1473-1CA0-1922-600B-91B0A069BDAC}"/>
              </a:ext>
            </a:extLst>
          </p:cNvPr>
          <p:cNvCxnSpPr>
            <a:cxnSpLocks/>
            <a:stCxn id="11" idx="0"/>
          </p:cNvCxnSpPr>
          <p:nvPr/>
        </p:nvCxnSpPr>
        <p:spPr>
          <a:xfrm>
            <a:off x="4710509" y="1636832"/>
            <a:ext cx="750175" cy="1081393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ABF2B88-D57B-0911-B6F1-3DFF41B44562}"/>
              </a:ext>
            </a:extLst>
          </p:cNvPr>
          <p:cNvCxnSpPr>
            <a:cxnSpLocks/>
            <a:stCxn id="3" idx="0"/>
          </p:cNvCxnSpPr>
          <p:nvPr/>
        </p:nvCxnSpPr>
        <p:spPr>
          <a:xfrm>
            <a:off x="5350414" y="1937612"/>
            <a:ext cx="291276" cy="656123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48F96A3-E6F4-D607-E475-9E8C7BE77AE0}"/>
              </a:ext>
            </a:extLst>
          </p:cNvPr>
          <p:cNvCxnSpPr>
            <a:cxnSpLocks/>
            <a:stCxn id="14" idx="0"/>
            <a:endCxn id="30" idx="0"/>
          </p:cNvCxnSpPr>
          <p:nvPr/>
        </p:nvCxnSpPr>
        <p:spPr>
          <a:xfrm>
            <a:off x="5782317" y="1264053"/>
            <a:ext cx="6731" cy="1211596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7B1B760-97C0-A9C5-2D61-7C793BAC4D5B}"/>
              </a:ext>
            </a:extLst>
          </p:cNvPr>
          <p:cNvCxnSpPr>
            <a:cxnSpLocks/>
            <a:stCxn id="6" idx="0"/>
          </p:cNvCxnSpPr>
          <p:nvPr/>
        </p:nvCxnSpPr>
        <p:spPr>
          <a:xfrm flipH="1">
            <a:off x="5967740" y="1902401"/>
            <a:ext cx="259942" cy="691334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FB843AE-4822-0E8D-BD7F-D01700204225}"/>
              </a:ext>
            </a:extLst>
          </p:cNvPr>
          <p:cNvCxnSpPr>
            <a:cxnSpLocks/>
            <a:stCxn id="2" idx="1"/>
          </p:cNvCxnSpPr>
          <p:nvPr/>
        </p:nvCxnSpPr>
        <p:spPr>
          <a:xfrm flipH="1">
            <a:off x="6147550" y="1650699"/>
            <a:ext cx="775370" cy="1067526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0215458-6646-CF43-CB9C-7593CD171B8E}"/>
              </a:ext>
            </a:extLst>
          </p:cNvPr>
          <p:cNvCxnSpPr>
            <a:cxnSpLocks/>
            <a:stCxn id="7" idx="1"/>
          </p:cNvCxnSpPr>
          <p:nvPr/>
        </p:nvCxnSpPr>
        <p:spPr>
          <a:xfrm flipH="1">
            <a:off x="6406374" y="2493100"/>
            <a:ext cx="340323" cy="352337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175D0B-AF69-3A32-6C9D-3148C92A0780}"/>
              </a:ext>
            </a:extLst>
          </p:cNvPr>
          <p:cNvCxnSpPr>
            <a:cxnSpLocks/>
            <a:stCxn id="5" idx="2"/>
          </p:cNvCxnSpPr>
          <p:nvPr/>
        </p:nvCxnSpPr>
        <p:spPr>
          <a:xfrm flipH="1" flipV="1">
            <a:off x="6365132" y="3558359"/>
            <a:ext cx="509207" cy="447688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EECC73D-2264-E50C-4C3E-0F1BE0C99590}"/>
              </a:ext>
            </a:extLst>
          </p:cNvPr>
          <p:cNvCxnSpPr>
            <a:cxnSpLocks/>
            <a:stCxn id="13" idx="2"/>
          </p:cNvCxnSpPr>
          <p:nvPr/>
        </p:nvCxnSpPr>
        <p:spPr>
          <a:xfrm flipH="1" flipV="1">
            <a:off x="6183681" y="3722635"/>
            <a:ext cx="872318" cy="1124655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86DF6EE-8794-9F39-27B9-FC93364778A7}"/>
              </a:ext>
            </a:extLst>
          </p:cNvPr>
          <p:cNvCxnSpPr>
            <a:cxnSpLocks/>
            <a:stCxn id="4" idx="3"/>
          </p:cNvCxnSpPr>
          <p:nvPr/>
        </p:nvCxnSpPr>
        <p:spPr>
          <a:xfrm flipH="1" flipV="1">
            <a:off x="5934047" y="3817581"/>
            <a:ext cx="385804" cy="696895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7F781A3-96A8-7E22-1897-050DC00E584A}"/>
              </a:ext>
            </a:extLst>
          </p:cNvPr>
          <p:cNvCxnSpPr>
            <a:cxnSpLocks/>
            <a:stCxn id="12" idx="3"/>
            <a:endCxn id="30" idx="2"/>
          </p:cNvCxnSpPr>
          <p:nvPr/>
        </p:nvCxnSpPr>
        <p:spPr>
          <a:xfrm flipH="1" flipV="1">
            <a:off x="5789048" y="3952763"/>
            <a:ext cx="36092" cy="1258247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725ACC0-2D7E-FE5D-85C6-0E007A4538AF}"/>
              </a:ext>
            </a:extLst>
          </p:cNvPr>
          <p:cNvCxnSpPr>
            <a:cxnSpLocks/>
            <a:stCxn id="9" idx="3"/>
          </p:cNvCxnSpPr>
          <p:nvPr/>
        </p:nvCxnSpPr>
        <p:spPr>
          <a:xfrm flipV="1">
            <a:off x="5312714" y="3817580"/>
            <a:ext cx="335849" cy="673221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6AB8F1D-637F-7A4D-87B5-88D235EDC7A7}"/>
              </a:ext>
            </a:extLst>
          </p:cNvPr>
          <p:cNvCxnSpPr>
            <a:cxnSpLocks/>
            <a:stCxn id="15" idx="3"/>
          </p:cNvCxnSpPr>
          <p:nvPr/>
        </p:nvCxnSpPr>
        <p:spPr>
          <a:xfrm flipV="1">
            <a:off x="4539812" y="3698788"/>
            <a:ext cx="882921" cy="1270398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4FDA33-11F9-1BD8-753E-414EA1A55C5D}"/>
              </a:ext>
            </a:extLst>
          </p:cNvPr>
          <p:cNvCxnSpPr>
            <a:cxnSpLocks/>
            <a:stCxn id="8" idx="4"/>
          </p:cNvCxnSpPr>
          <p:nvPr/>
        </p:nvCxnSpPr>
        <p:spPr>
          <a:xfrm flipV="1">
            <a:off x="4784466" y="3598420"/>
            <a:ext cx="452464" cy="454980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">
            <a:extLst>
              <a:ext uri="{FF2B5EF4-FFF2-40B4-BE49-F238E27FC236}">
                <a16:creationId xmlns:a16="http://schemas.microsoft.com/office/drawing/2014/main" id="{9BCC07AC-EDAF-0FD8-BBCA-56D87424EE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9143" y="2475649"/>
            <a:ext cx="1279810" cy="14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8807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002BBD-75D0-B015-478F-AE4E3A53D9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graph of a line&#10;&#10;Description automatically generated with medium confidence">
            <a:extLst>
              <a:ext uri="{FF2B5EF4-FFF2-40B4-BE49-F238E27FC236}">
                <a16:creationId xmlns:a16="http://schemas.microsoft.com/office/drawing/2014/main" id="{CD35CBA0-3C54-E5DA-0A65-AB074C4440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65319"/>
            <a:ext cx="5804780" cy="2942763"/>
          </a:xfrm>
          <a:prstGeom prst="rect">
            <a:avLst/>
          </a:prstGeom>
        </p:spPr>
      </p:pic>
      <p:pic>
        <p:nvPicPr>
          <p:cNvPr id="11" name="Picture 10" descr="A screenshot of a graph&#10;&#10;Description automatically generated">
            <a:extLst>
              <a:ext uri="{FF2B5EF4-FFF2-40B4-BE49-F238E27FC236}">
                <a16:creationId xmlns:a16="http://schemas.microsoft.com/office/drawing/2014/main" id="{D1610199-09EB-94A1-689A-529A371B1B9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92" t="49917" r="49397"/>
          <a:stretch/>
        </p:blipFill>
        <p:spPr>
          <a:xfrm>
            <a:off x="5608532" y="879520"/>
            <a:ext cx="2817256" cy="1435686"/>
          </a:xfrm>
          <a:prstGeom prst="rect">
            <a:avLst/>
          </a:prstGeom>
        </p:spPr>
      </p:pic>
      <p:pic>
        <p:nvPicPr>
          <p:cNvPr id="19" name="Picture 18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F3E225DB-C4A6-1C11-D786-7883E789423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606" r="34937" b="5402"/>
          <a:stretch/>
        </p:blipFill>
        <p:spPr>
          <a:xfrm>
            <a:off x="5547835" y="3614885"/>
            <a:ext cx="2776327" cy="1378863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5D324EB3-28B9-5AF2-5459-CFCDF88FB2B1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32B82BD-5266-E2AF-16FC-B3B5DFEE86E6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Aesthetic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0073BD8-B84B-6271-2D19-86FFA42256C1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tatistic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0EDCA88-E722-2022-D033-FE6D73D99A07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A01B54C-5923-D544-3EF5-C247B66CD8AE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35918716-F6BE-EE0A-EBE4-14C5549ED351}"/>
              </a:ext>
            </a:extLst>
          </p:cNvPr>
          <p:cNvSpPr/>
          <p:nvPr/>
        </p:nvSpPr>
        <p:spPr>
          <a:xfrm rot="1070933" flipH="1">
            <a:off x="9717198" y="5508825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A40ED80-7C62-3650-F807-24380DEF82A0}"/>
              </a:ext>
            </a:extLst>
          </p:cNvPr>
          <p:cNvSpPr txBox="1"/>
          <p:nvPr/>
        </p:nvSpPr>
        <p:spPr>
          <a:xfrm>
            <a:off x="8106042" y="564845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91DB0F9-B6EC-7DD1-436E-8B297DDAC239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8CC9AA-260B-B241-F29D-18D76343F9F0}"/>
              </a:ext>
            </a:extLst>
          </p:cNvPr>
          <p:cNvSpPr/>
          <p:nvPr/>
        </p:nvSpPr>
        <p:spPr>
          <a:xfrm>
            <a:off x="41329" y="864292"/>
            <a:ext cx="1525829" cy="1368278"/>
          </a:xfrm>
          <a:prstGeom prst="ellipse">
            <a:avLst/>
          </a:prstGeom>
          <a:noFill/>
          <a:ln w="57150"/>
          <a:effectLst>
            <a:glow>
              <a:schemeClr val="bg1">
                <a:alpha val="40000"/>
              </a:schemeClr>
            </a:glo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group of graphs on a white background&#10;&#10;Description automatically generated">
            <a:extLst>
              <a:ext uri="{FF2B5EF4-FFF2-40B4-BE49-F238E27FC236}">
                <a16:creationId xmlns:a16="http://schemas.microsoft.com/office/drawing/2014/main" id="{3D643DC2-4EF9-F133-7F39-EBE83DBD5D9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305"/>
          <a:stretch/>
        </p:blipFill>
        <p:spPr>
          <a:xfrm>
            <a:off x="34232" y="3474671"/>
            <a:ext cx="5574300" cy="2885812"/>
          </a:xfrm>
          <a:prstGeom prst="rect">
            <a:avLst/>
          </a:prstGeom>
        </p:spPr>
      </p:pic>
      <p:pic>
        <p:nvPicPr>
          <p:cNvPr id="36" name="Picture 35" descr="A screenshot of a graph&#10;&#10;Description automatically generated">
            <a:extLst>
              <a:ext uri="{FF2B5EF4-FFF2-40B4-BE49-F238E27FC236}">
                <a16:creationId xmlns:a16="http://schemas.microsoft.com/office/drawing/2014/main" id="{0F823DB0-F40C-6CD2-F027-79FCE818326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61" t="3478" r="3059" b="49917"/>
          <a:stretch/>
        </p:blipFill>
        <p:spPr>
          <a:xfrm>
            <a:off x="2919505" y="2232570"/>
            <a:ext cx="5404657" cy="1318442"/>
          </a:xfrm>
          <a:prstGeom prst="rect">
            <a:avLst/>
          </a:prstGeom>
        </p:spPr>
      </p:pic>
      <p:pic>
        <p:nvPicPr>
          <p:cNvPr id="37" name="Picture 36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DBFEC968-BAF0-AA40-FD42-24B4DF07CB9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3641" t="8606" r="3937" b="5402"/>
          <a:stretch/>
        </p:blipFill>
        <p:spPr>
          <a:xfrm>
            <a:off x="5558459" y="4921238"/>
            <a:ext cx="1383509" cy="1378863"/>
          </a:xfrm>
          <a:prstGeom prst="rect">
            <a:avLst/>
          </a:prstGeom>
        </p:spPr>
      </p:pic>
      <p:sp>
        <p:nvSpPr>
          <p:cNvPr id="8" name="Parallelogram 7">
            <a:extLst>
              <a:ext uri="{FF2B5EF4-FFF2-40B4-BE49-F238E27FC236}">
                <a16:creationId xmlns:a16="http://schemas.microsoft.com/office/drawing/2014/main" id="{B399805E-C207-5F11-41D4-6773197069D2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EF3655B4-A44B-0FC8-57D7-33A3663C570C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B6D3AB99-E08B-19FB-CE98-087A86C7E794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04BF6B19-E709-1CD5-EB4C-398B61C89F77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0D1B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F25C10A5-11C0-AC64-E727-47B16464B7C6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608D595B-A2E0-C917-9C6B-9ECDDB9D15B2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2E4208E-D355-293E-577A-B76D1206EC66}"/>
              </a:ext>
            </a:extLst>
          </p:cNvPr>
          <p:cNvSpPr txBox="1"/>
          <p:nvPr/>
        </p:nvSpPr>
        <p:spPr>
          <a:xfrm>
            <a:off x="4468872" y="4950183"/>
            <a:ext cx="1089587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b="1" dirty="0"/>
              <a:t>x + </a:t>
            </a:r>
            <a:r>
              <a:rPr lang="en-US" sz="1000" b="1" dirty="0" err="1"/>
              <a:t>geom_col</a:t>
            </a:r>
            <a:r>
              <a:rPr lang="en-US" sz="1000" b="1" dirty="0"/>
              <a:t>()</a:t>
            </a:r>
          </a:p>
        </p:txBody>
      </p:sp>
    </p:spTree>
    <p:extLst>
      <p:ext uri="{BB962C8B-B14F-4D97-AF65-F5344CB8AC3E}">
        <p14:creationId xmlns:p14="http://schemas.microsoft.com/office/powerpoint/2010/main" val="255765448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6FDF44-4091-5BC4-5E6A-8ADC3AE10F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A9A4BF0A-B5CB-250B-8359-939A60C19E44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767BBC5B-B587-4B85-50D2-C7306231BFC8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D7E16C8-C715-8888-E1D3-9D561054F7B2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,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26C1F1FA-1603-C289-A444-70995BCECDEA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25464CB-4255-D04A-E615-596A27E77E41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FB5175-B9C3-D06A-AA65-72535CFFB941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E40F37-79A0-5D3B-6CBB-41D64E0D71B5}"/>
              </a:ext>
            </a:extLst>
          </p:cNvPr>
          <p:cNvSpPr/>
          <p:nvPr/>
        </p:nvSpPr>
        <p:spPr>
          <a:xfrm>
            <a:off x="1297701" y="3534673"/>
            <a:ext cx="5499440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67016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C2C3DD-B9EA-F5A5-BE2B-8F2ED5D4A4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BF2DC57B-05CA-914F-F85E-2AAD582258E1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9127D59-ED1E-2C99-EDFE-83538A645E73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F4E0DD06-09D4-FC3B-8DF7-0189564CBA38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,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415315C7-70BC-8FB4-7F04-42DBC1E9C155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geom_</a:t>
            </a:r>
            <a:r>
              <a:rPr lang="en-US" sz="2000" b="1" dirty="0" err="1">
                <a:solidFill>
                  <a:schemeClr val="tx1"/>
                </a:solidFill>
                <a:latin typeface="Lucida Console" panose="020B0609040504020204" pitchFamily="49" charset="0"/>
              </a:rPr>
              <a:t>point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107D203-AA21-8E4A-A629-143CB469CA64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B6A2F3-941C-DCA0-013D-EA4065A02184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2D1AE42-9D4E-612F-8282-819582FCD87D}"/>
              </a:ext>
            </a:extLst>
          </p:cNvPr>
          <p:cNvSpPr/>
          <p:nvPr/>
        </p:nvSpPr>
        <p:spPr>
          <a:xfrm>
            <a:off x="1297701" y="3534673"/>
            <a:ext cx="5499440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DA62F5A-A254-9AA2-B394-82E7A74CDD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3825" y="935048"/>
            <a:ext cx="4964386" cy="4915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336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22A687-2A07-CBC6-FE4D-C40A29C70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357" y="142704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enter for Data &amp; Visualization Sciences (CDVS)</a:t>
            </a:r>
          </a:p>
        </p:txBody>
      </p:sp>
      <p:pic>
        <p:nvPicPr>
          <p:cNvPr id="3" name="Picture 2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6651A150-CDCF-558A-C90D-5E92DB8102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91" t="10226" r="3551" b="1"/>
          <a:stretch/>
        </p:blipFill>
        <p:spPr>
          <a:xfrm>
            <a:off x="393357" y="1677536"/>
            <a:ext cx="5499330" cy="35029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B66DF19-7C4A-F69A-BD5C-4403716CE044}"/>
              </a:ext>
            </a:extLst>
          </p:cNvPr>
          <p:cNvSpPr txBox="1"/>
          <p:nvPr/>
        </p:nvSpPr>
        <p:spPr>
          <a:xfrm>
            <a:off x="6732748" y="4918853"/>
            <a:ext cx="3879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</a:rPr>
              <a:t>AskData@duke.edu</a:t>
            </a:r>
            <a:endParaRPr lang="en-US" sz="2800" dirty="0">
              <a:solidFill>
                <a:schemeClr val="tx1">
                  <a:lumMod val="85000"/>
                  <a:lumOff val="15000"/>
                </a:schemeClr>
              </a:solidFill>
              <a:latin typeface="Helvetica" pitchFamily="2" charset="0"/>
            </a:endParaRPr>
          </a:p>
        </p:txBody>
      </p:sp>
      <p:pic>
        <p:nvPicPr>
          <p:cNvPr id="6" name="Picture 5" descr="Several people working at computers&#10;&#10;Description automatically generated with medium confidence">
            <a:extLst>
              <a:ext uri="{FF2B5EF4-FFF2-40B4-BE49-F238E27FC236}">
                <a16:creationId xmlns:a16="http://schemas.microsoft.com/office/drawing/2014/main" id="{A16C75BA-8D29-84F3-9236-99463AC09F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3828" r="13114"/>
          <a:stretch/>
        </p:blipFill>
        <p:spPr>
          <a:xfrm>
            <a:off x="5941417" y="2244436"/>
            <a:ext cx="6250583" cy="2429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40240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1EBDFF-2F61-BB51-73C7-F3AE8FC831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6530C9A3-6829-D341-A512-E68074FB4959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F6232F2-CE42-50B2-AAE5-DC5AB3195735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0C7F0FEF-3468-7DEB-1A8E-DCCE616AE297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,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76B4B409-4E8A-D791-52F1-3364F07AD4D0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geom_</a:t>
            </a:r>
            <a:r>
              <a:rPr lang="en-US" sz="2000" b="1" dirty="0" err="1">
                <a:solidFill>
                  <a:schemeClr val="tx1"/>
                </a:solidFill>
                <a:latin typeface="Lucida Console" panose="020B0609040504020204" pitchFamily="49" charset="0"/>
              </a:rPr>
              <a:t>point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7D26E8E-AAD0-87AD-6708-983DABF23C0E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F1EFC40-A2C8-9582-0DF9-8F0D0ECD9979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5A6DEAF-077B-638D-25E9-C45471E69345}"/>
              </a:ext>
            </a:extLst>
          </p:cNvPr>
          <p:cNvSpPr/>
          <p:nvPr/>
        </p:nvSpPr>
        <p:spPr>
          <a:xfrm>
            <a:off x="1297701" y="3534673"/>
            <a:ext cx="5499440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20C2C3-9386-113C-1977-1BA63DA48A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3825" y="935048"/>
            <a:ext cx="4964386" cy="491571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735E46E-B2C3-6B64-2EEB-E0321F26B46C}"/>
              </a:ext>
            </a:extLst>
          </p:cNvPr>
          <p:cNvSpPr txBox="1"/>
          <p:nvPr/>
        </p:nvSpPr>
        <p:spPr>
          <a:xfrm>
            <a:off x="1650761" y="4550396"/>
            <a:ext cx="3837814" cy="1133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 err="1">
                <a:latin typeface="Monaco" pitchFamily="2" charset="77"/>
              </a:rPr>
              <a:t>dplyr</a:t>
            </a:r>
            <a:r>
              <a:rPr lang="en-US" sz="2400" dirty="0">
                <a:latin typeface="Monaco" pitchFamily="2" charset="77"/>
              </a:rPr>
              <a:t>  %&gt;%  or  |&gt;</a:t>
            </a:r>
          </a:p>
          <a:p>
            <a:pPr>
              <a:lnSpc>
                <a:spcPct val="150000"/>
              </a:lnSpc>
            </a:pPr>
            <a:r>
              <a:rPr lang="en-US" sz="2400" b="1" dirty="0" err="1">
                <a:latin typeface="Monaco" pitchFamily="2" charset="77"/>
              </a:rPr>
              <a:t>ggplot</a:t>
            </a:r>
            <a:r>
              <a:rPr lang="en-US" sz="2400" dirty="0">
                <a:latin typeface="Monaco" pitchFamily="2" charset="77"/>
              </a:rPr>
              <a:t>  +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130A53-A84E-47C1-638C-6677CBAC9209}"/>
              </a:ext>
            </a:extLst>
          </p:cNvPr>
          <p:cNvSpPr txBox="1"/>
          <p:nvPr/>
        </p:nvSpPr>
        <p:spPr>
          <a:xfrm>
            <a:off x="2349637" y="3762475"/>
            <a:ext cx="27646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latin typeface="+mj-lt"/>
              </a:rPr>
              <a:t>“and then…”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A6D0C3F-6F19-4B5D-7DDE-21578608D7F2}"/>
              </a:ext>
            </a:extLst>
          </p:cNvPr>
          <p:cNvSpPr/>
          <p:nvPr/>
        </p:nvSpPr>
        <p:spPr>
          <a:xfrm>
            <a:off x="6324198" y="2021794"/>
            <a:ext cx="675229" cy="657788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BF91E7-CB86-5F65-F6F6-FCBC6975CEE9}"/>
              </a:ext>
            </a:extLst>
          </p:cNvPr>
          <p:cNvSpPr txBox="1"/>
          <p:nvPr/>
        </p:nvSpPr>
        <p:spPr>
          <a:xfrm>
            <a:off x="312808" y="228967"/>
            <a:ext cx="5783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Chaining method</a:t>
            </a:r>
          </a:p>
        </p:txBody>
      </p:sp>
    </p:spTree>
    <p:extLst>
      <p:ext uri="{BB962C8B-B14F-4D97-AF65-F5344CB8AC3E}">
        <p14:creationId xmlns:p14="http://schemas.microsoft.com/office/powerpoint/2010/main" val="332730143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6BFF2E-7B4A-801A-54D0-0370D2A5A3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F32E0C47-B9E3-6AAA-AD35-3C5C36EFEF1D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6ECDC90E-9D45-8F50-4D3F-864F16599844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7324FE22-2760-832E-7505-45A9CE0674F4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,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9FD3ECE1-435F-CEB4-C625-4FAAAEA9DF76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geom_</a:t>
            </a:r>
            <a:r>
              <a:rPr lang="en-US" sz="2000" b="1" dirty="0" err="1">
                <a:solidFill>
                  <a:schemeClr val="tx1"/>
                </a:solidFill>
                <a:latin typeface="Lucida Console" panose="020B0609040504020204" pitchFamily="49" charset="0"/>
              </a:rPr>
              <a:t>point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FFEB0CA-3B72-E051-C267-645AF1100154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3F3E89-8C42-BFE9-32AB-49DA4FC0E0BE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2746400-3980-53BE-8535-48FDC070BDB7}"/>
              </a:ext>
            </a:extLst>
          </p:cNvPr>
          <p:cNvSpPr/>
          <p:nvPr/>
        </p:nvSpPr>
        <p:spPr>
          <a:xfrm>
            <a:off x="1297701" y="3534673"/>
            <a:ext cx="5499440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EECEF78-7893-C73C-3363-C8955C2A11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3825" y="935048"/>
            <a:ext cx="4964386" cy="491571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F327DF4-4840-3024-248D-8EEAFCF478EC}"/>
              </a:ext>
            </a:extLst>
          </p:cNvPr>
          <p:cNvSpPr txBox="1"/>
          <p:nvPr/>
        </p:nvSpPr>
        <p:spPr>
          <a:xfrm>
            <a:off x="1650761" y="4550396"/>
            <a:ext cx="3837814" cy="1133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 err="1">
                <a:latin typeface="Monaco" pitchFamily="2" charset="77"/>
              </a:rPr>
              <a:t>dplyr</a:t>
            </a:r>
            <a:r>
              <a:rPr lang="en-US" sz="2400" dirty="0">
                <a:latin typeface="Monaco" pitchFamily="2" charset="77"/>
              </a:rPr>
              <a:t>  %&gt;%  or  |&gt;</a:t>
            </a:r>
          </a:p>
          <a:p>
            <a:pPr>
              <a:lnSpc>
                <a:spcPct val="150000"/>
              </a:lnSpc>
            </a:pPr>
            <a:r>
              <a:rPr lang="en-US" sz="2400" b="1" dirty="0" err="1">
                <a:latin typeface="Monaco" pitchFamily="2" charset="77"/>
              </a:rPr>
              <a:t>ggplot</a:t>
            </a:r>
            <a:r>
              <a:rPr lang="en-US" sz="2400" dirty="0">
                <a:latin typeface="Monaco" pitchFamily="2" charset="77"/>
              </a:rPr>
              <a:t>  +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846A1B-14B6-1B07-AA4E-647089207119}"/>
              </a:ext>
            </a:extLst>
          </p:cNvPr>
          <p:cNvSpPr txBox="1"/>
          <p:nvPr/>
        </p:nvSpPr>
        <p:spPr>
          <a:xfrm>
            <a:off x="2349637" y="3762475"/>
            <a:ext cx="27646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latin typeface="+mj-lt"/>
              </a:rPr>
              <a:t>“and then…”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18D0B2F-D34B-9CA0-8389-10140A65A301}"/>
              </a:ext>
            </a:extLst>
          </p:cNvPr>
          <p:cNvSpPr/>
          <p:nvPr/>
        </p:nvSpPr>
        <p:spPr>
          <a:xfrm>
            <a:off x="6324198" y="2021794"/>
            <a:ext cx="675229" cy="657788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BAD72B-4D2A-E542-6100-19E23B4FFDF5}"/>
              </a:ext>
            </a:extLst>
          </p:cNvPr>
          <p:cNvSpPr txBox="1"/>
          <p:nvPr/>
        </p:nvSpPr>
        <p:spPr>
          <a:xfrm>
            <a:off x="312808" y="228967"/>
            <a:ext cx="5783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Chaining method</a:t>
            </a:r>
          </a:p>
        </p:txBody>
      </p:sp>
    </p:spTree>
    <p:extLst>
      <p:ext uri="{BB962C8B-B14F-4D97-AF65-F5344CB8AC3E}">
        <p14:creationId xmlns:p14="http://schemas.microsoft.com/office/powerpoint/2010/main" val="291034415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0C875-9C78-28AE-55E3-FF0BADA1C2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104F0A96-5DDE-7F8F-605F-9C5F616CF55F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F0B15A48-05C9-0902-2F6D-E010BF3FF994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8779089B-A5AD-E08C-6004-EDBB9FE4B78B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, </a:t>
            </a:r>
            <a:r>
              <a:rPr lang="en-US" sz="2000" b="1" dirty="0">
                <a:solidFill>
                  <a:schemeClr val="tx1"/>
                </a:solidFill>
                <a:latin typeface="Lucida Console" panose="020B0609040504020204" pitchFamily="49" charset="0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8FCB21B-126B-99C1-DA42-A1F90101197A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geom_</a:t>
            </a:r>
            <a:r>
              <a:rPr lang="en-US" sz="2000" b="1" dirty="0" err="1">
                <a:solidFill>
                  <a:schemeClr val="tx1"/>
                </a:solidFill>
                <a:latin typeface="Lucida Console" panose="020B0609040504020204" pitchFamily="49" charset="0"/>
              </a:rPr>
              <a:t>point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DB33257-8EBB-4205-2FC2-EC50635040AE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9F82362-B506-C941-ACB6-3BAC98692EED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9823512-A4A8-2687-07F7-A86B48B0713D}"/>
              </a:ext>
            </a:extLst>
          </p:cNvPr>
          <p:cNvSpPr/>
          <p:nvPr/>
        </p:nvSpPr>
        <p:spPr>
          <a:xfrm>
            <a:off x="4452079" y="2487141"/>
            <a:ext cx="584615" cy="599714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287EC5-83C0-588A-E0F7-AA0D471A3BF9}"/>
              </a:ext>
            </a:extLst>
          </p:cNvPr>
          <p:cNvSpPr txBox="1"/>
          <p:nvPr/>
        </p:nvSpPr>
        <p:spPr>
          <a:xfrm>
            <a:off x="312808" y="228967"/>
            <a:ext cx="5783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Chaining metho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0132080-8B8F-306D-92FF-E61C2F8768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1682" y="1090236"/>
            <a:ext cx="4908719" cy="499577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ECA9CA9-F2C7-1FCD-8A9E-04B04EE2CBB8}"/>
              </a:ext>
            </a:extLst>
          </p:cNvPr>
          <p:cNvSpPr txBox="1"/>
          <p:nvPr/>
        </p:nvSpPr>
        <p:spPr>
          <a:xfrm>
            <a:off x="4416903" y="2529383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1057AF3A-0572-2150-03FF-796E0427A29F}"/>
              </a:ext>
            </a:extLst>
          </p:cNvPr>
          <p:cNvSpPr/>
          <p:nvPr/>
        </p:nvSpPr>
        <p:spPr>
          <a:xfrm>
            <a:off x="1562943" y="3092969"/>
            <a:ext cx="3998408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geom_</a:t>
            </a:r>
            <a:r>
              <a:rPr lang="en-US" sz="2000" b="1" dirty="0" err="1">
                <a:solidFill>
                  <a:schemeClr val="tx1"/>
                </a:solidFill>
                <a:latin typeface="Lucida Console" panose="020B0609040504020204" pitchFamily="49" charset="0"/>
              </a:rPr>
              <a:t>smooth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method=“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lm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”)</a:t>
            </a:r>
          </a:p>
        </p:txBody>
      </p:sp>
    </p:spTree>
    <p:extLst>
      <p:ext uri="{BB962C8B-B14F-4D97-AF65-F5344CB8AC3E}">
        <p14:creationId xmlns:p14="http://schemas.microsoft.com/office/powerpoint/2010/main" val="33544416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E6EB5603-70F3-DEA9-ECAA-68E73F2F9C32}"/>
              </a:ext>
            </a:extLst>
          </p:cNvPr>
          <p:cNvSpPr txBox="1"/>
          <p:nvPr/>
        </p:nvSpPr>
        <p:spPr>
          <a:xfrm>
            <a:off x="155001" y="103181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7A3BDD0-B0E4-5A6C-7316-3C7DC03787C8}"/>
              </a:ext>
            </a:extLst>
          </p:cNvPr>
          <p:cNvSpPr/>
          <p:nvPr/>
        </p:nvSpPr>
        <p:spPr>
          <a:xfrm>
            <a:off x="1343289" y="103515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data = happy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A124AA39-F9A0-AA7D-B8ED-9F92BB062382}"/>
              </a:ext>
            </a:extLst>
          </p:cNvPr>
          <p:cNvSpPr/>
          <p:nvPr/>
        </p:nvSpPr>
        <p:spPr>
          <a:xfrm>
            <a:off x="3989945" y="1033271"/>
            <a:ext cx="3118052" cy="400110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E483A24A-645F-2536-3B14-E1BA7D47F471}"/>
              </a:ext>
            </a:extLst>
          </p:cNvPr>
          <p:cNvSpPr/>
          <p:nvPr/>
        </p:nvSpPr>
        <p:spPr>
          <a:xfrm>
            <a:off x="1343289" y="170230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CE15E0-B1B0-06BC-86C9-6CC946CC7A86}"/>
              </a:ext>
            </a:extLst>
          </p:cNvPr>
          <p:cNvSpPr txBox="1"/>
          <p:nvPr/>
        </p:nvSpPr>
        <p:spPr>
          <a:xfrm>
            <a:off x="7032331" y="1044465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</a:t>
            </a:r>
            <a:r>
              <a:rPr lang="en-US" sz="2000" b="1" dirty="0">
                <a:latin typeface="Monaco" pitchFamily="2" charset="77"/>
              </a:rPr>
              <a:t>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3D688C-7BBB-2538-92A4-E1CAC12776A5}"/>
              </a:ext>
            </a:extLst>
          </p:cNvPr>
          <p:cNvSpPr txBox="1"/>
          <p:nvPr/>
        </p:nvSpPr>
        <p:spPr>
          <a:xfrm>
            <a:off x="3783116" y="100597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484957-F838-D306-D07F-E64807463F1E}"/>
              </a:ext>
            </a:extLst>
          </p:cNvPr>
          <p:cNvSpPr txBox="1"/>
          <p:nvPr/>
        </p:nvSpPr>
        <p:spPr>
          <a:xfrm>
            <a:off x="1620440" y="3924533"/>
            <a:ext cx="3837814" cy="1133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 err="1">
                <a:latin typeface="Monaco" pitchFamily="2" charset="77"/>
              </a:rPr>
              <a:t>dplyr</a:t>
            </a:r>
            <a:r>
              <a:rPr lang="en-US" sz="2400" dirty="0">
                <a:latin typeface="Monaco" pitchFamily="2" charset="77"/>
              </a:rPr>
              <a:t>  %&gt;%  or  |&gt;</a:t>
            </a:r>
          </a:p>
          <a:p>
            <a:pPr>
              <a:lnSpc>
                <a:spcPct val="150000"/>
              </a:lnSpc>
            </a:pPr>
            <a:r>
              <a:rPr lang="en-US" sz="2400" b="1" dirty="0" err="1">
                <a:latin typeface="Monaco" pitchFamily="2" charset="77"/>
              </a:rPr>
              <a:t>ggplot</a:t>
            </a:r>
            <a:r>
              <a:rPr lang="en-US" sz="2400" dirty="0">
                <a:latin typeface="Monaco" pitchFamily="2" charset="77"/>
              </a:rPr>
              <a:t>  +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224522-71EC-D62B-9C46-681FB4873BA7}"/>
              </a:ext>
            </a:extLst>
          </p:cNvPr>
          <p:cNvSpPr txBox="1"/>
          <p:nvPr/>
        </p:nvSpPr>
        <p:spPr>
          <a:xfrm>
            <a:off x="2319316" y="3136612"/>
            <a:ext cx="27646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latin typeface="+mj-lt"/>
              </a:rPr>
              <a:t>“and then…”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2E7572C-6F79-6871-090D-0FE4BEDF1B2C}"/>
              </a:ext>
            </a:extLst>
          </p:cNvPr>
          <p:cNvSpPr/>
          <p:nvPr/>
        </p:nvSpPr>
        <p:spPr>
          <a:xfrm>
            <a:off x="7166551" y="939782"/>
            <a:ext cx="675229" cy="657788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4021147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6DBF982-9084-0D3F-972E-0BED040A9259}"/>
              </a:ext>
            </a:extLst>
          </p:cNvPr>
          <p:cNvSpPr txBox="1"/>
          <p:nvPr/>
        </p:nvSpPr>
        <p:spPr>
          <a:xfrm>
            <a:off x="0" y="729990"/>
            <a:ext cx="7024765" cy="872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data = </a:t>
            </a:r>
            <a:r>
              <a:rPr lang="en-US" dirty="0">
                <a:highlight>
                  <a:srgbClr val="718BFF"/>
                </a:highlight>
                <a:latin typeface="Andale Mono" panose="020B0509000000000004" pitchFamily="49" charset="0"/>
              </a:rPr>
              <a:t>happy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x=GDP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y=happiness</a:t>
            </a:r>
            <a:r>
              <a:rPr lang="en-US" dirty="0">
                <a:latin typeface="Andale Mono" panose="020B0509000000000004" pitchFamily="49" charset="0"/>
              </a:rPr>
              <a:t>)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highlight>
                  <a:srgbClr val="89C77A"/>
                </a:highlight>
                <a:latin typeface="Andale Mono" panose="020B0509000000000004" pitchFamily="49" charset="0"/>
              </a:rPr>
              <a:t>geom_point</a:t>
            </a:r>
            <a:r>
              <a:rPr lang="en-US" dirty="0">
                <a:highlight>
                  <a:srgbClr val="89C77A"/>
                </a:highlight>
                <a:latin typeface="Andale Mono" panose="020B0509000000000004" pitchFamily="49" charset="0"/>
              </a:rPr>
              <a:t>()</a:t>
            </a:r>
            <a:r>
              <a:rPr lang="en-US" dirty="0">
                <a:latin typeface="Andale Mono" panose="020B0509000000000004" pitchFamily="49" charset="0"/>
              </a:rPr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4FA7EFE-BC31-59A1-0E4A-A7CDD3CF0B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1164" y="920042"/>
            <a:ext cx="5304856" cy="4922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59993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6DBF982-9084-0D3F-972E-0BED040A9259}"/>
              </a:ext>
            </a:extLst>
          </p:cNvPr>
          <p:cNvSpPr txBox="1"/>
          <p:nvPr/>
        </p:nvSpPr>
        <p:spPr>
          <a:xfrm>
            <a:off x="0" y="729990"/>
            <a:ext cx="7024765" cy="1288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data = </a:t>
            </a:r>
            <a:r>
              <a:rPr lang="en-US" dirty="0">
                <a:highlight>
                  <a:srgbClr val="718BFF"/>
                </a:highlight>
                <a:latin typeface="Andale Mono" panose="020B0509000000000004" pitchFamily="49" charset="0"/>
              </a:rPr>
              <a:t>happy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x=GDP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y=happiness</a:t>
            </a:r>
            <a:r>
              <a:rPr lang="en-US" dirty="0">
                <a:latin typeface="Andale Mono" panose="020B0509000000000004" pitchFamily="49" charset="0"/>
              </a:rPr>
              <a:t>)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highlight>
                  <a:srgbClr val="89C77A"/>
                </a:highlight>
                <a:latin typeface="Andale Mono" panose="020B0509000000000004" pitchFamily="49" charset="0"/>
              </a:rPr>
              <a:t>geom_point</a:t>
            </a:r>
            <a:r>
              <a:rPr lang="en-US" dirty="0">
                <a:highlight>
                  <a:srgbClr val="89C77A"/>
                </a:highlight>
                <a:latin typeface="Andale Mono" panose="020B0509000000000004" pitchFamily="49" charset="0"/>
              </a:rPr>
              <a:t>()</a:t>
            </a:r>
            <a:r>
              <a:rPr lang="en-US" dirty="0">
                <a:latin typeface="Andale Mono" panose="020B0509000000000004" pitchFamily="49" charset="0"/>
              </a:rPr>
              <a:t>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highlight>
                  <a:srgbClr val="89C77A"/>
                </a:highlight>
                <a:latin typeface="Andale Mono" panose="020B0509000000000004" pitchFamily="49" charset="0"/>
              </a:rPr>
              <a:t>geom_smooth</a:t>
            </a:r>
            <a:r>
              <a:rPr lang="en-US" dirty="0">
                <a:highlight>
                  <a:srgbClr val="89C77A"/>
                </a:highlight>
                <a:latin typeface="Andale Mono" panose="020B0509000000000004" pitchFamily="49" charset="0"/>
              </a:rPr>
              <a:t>()</a:t>
            </a:r>
            <a:r>
              <a:rPr lang="en-US" dirty="0">
                <a:latin typeface="Andale Mono" panose="020B0509000000000004" pitchFamily="49" charset="0"/>
              </a:rPr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F02832B-810A-0209-91D5-E10908FD50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1658" y="914400"/>
            <a:ext cx="5295636" cy="491426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60E13BF-980F-F778-A2E0-4DC4C43652A9}"/>
              </a:ext>
            </a:extLst>
          </p:cNvPr>
          <p:cNvSpPr/>
          <p:nvPr/>
        </p:nvSpPr>
        <p:spPr>
          <a:xfrm>
            <a:off x="0" y="621792"/>
            <a:ext cx="6691658" cy="621792"/>
          </a:xfrm>
          <a:prstGeom prst="rect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666BFF-5614-5E7B-3A60-AE998383ECD0}"/>
              </a:ext>
            </a:extLst>
          </p:cNvPr>
          <p:cNvSpPr/>
          <p:nvPr/>
        </p:nvSpPr>
        <p:spPr>
          <a:xfrm>
            <a:off x="457200" y="1243583"/>
            <a:ext cx="2162432" cy="441549"/>
          </a:xfrm>
          <a:prstGeom prst="rect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54925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04F5CE-81D3-632B-534B-3419404F0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10BCE9FC-B6AB-CEF2-545C-414DB79357A5}"/>
              </a:ext>
            </a:extLst>
          </p:cNvPr>
          <p:cNvSpPr txBox="1"/>
          <p:nvPr/>
        </p:nvSpPr>
        <p:spPr>
          <a:xfrm>
            <a:off x="155001" y="103181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0ED5CCA3-5998-448D-6A5A-C0A14A53B3B4}"/>
              </a:ext>
            </a:extLst>
          </p:cNvPr>
          <p:cNvSpPr/>
          <p:nvPr/>
        </p:nvSpPr>
        <p:spPr>
          <a:xfrm>
            <a:off x="1343289" y="103515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2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9FAB33BE-615A-B46D-E637-BEDD6BC0114D}"/>
              </a:ext>
            </a:extLst>
          </p:cNvPr>
          <p:cNvSpPr/>
          <p:nvPr/>
        </p:nvSpPr>
        <p:spPr>
          <a:xfrm>
            <a:off x="3994448" y="1036753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2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F3FE84EB-FB10-315F-4BAD-544A23B4DAE7}"/>
              </a:ext>
            </a:extLst>
          </p:cNvPr>
          <p:cNvSpPr/>
          <p:nvPr/>
        </p:nvSpPr>
        <p:spPr>
          <a:xfrm>
            <a:off x="1343289" y="1702301"/>
            <a:ext cx="2074468" cy="369332"/>
          </a:xfrm>
          <a:prstGeom prst="roundRect">
            <a:avLst/>
          </a:prstGeom>
          <a:solidFill>
            <a:srgbClr val="89C77A">
              <a:alpha val="27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55DABFA-D9F1-0640-3605-04F57B3656C4}"/>
              </a:ext>
            </a:extLst>
          </p:cNvPr>
          <p:cNvSpPr txBox="1"/>
          <p:nvPr/>
        </p:nvSpPr>
        <p:spPr>
          <a:xfrm>
            <a:off x="7713322" y="1031810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826EA6F-A0A0-3523-C94C-96439D2EFC86}"/>
              </a:ext>
            </a:extLst>
          </p:cNvPr>
          <p:cNvSpPr txBox="1"/>
          <p:nvPr/>
        </p:nvSpPr>
        <p:spPr>
          <a:xfrm>
            <a:off x="3783116" y="100597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4719C27-EB7E-E18F-54A7-FB5EBFE2C8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0713" y="1594616"/>
            <a:ext cx="4036286" cy="399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66218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A619093-9379-8E0B-4897-8481FCEB9568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D87AC5-F651-819F-0254-781240E8E1EF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2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88482A1-F256-DB0B-3FFA-DC4B145029A3}"/>
              </a:ext>
            </a:extLst>
          </p:cNvPr>
          <p:cNvSpPr/>
          <p:nvPr/>
        </p:nvSpPr>
        <p:spPr>
          <a:xfrm>
            <a:off x="3255259" y="568136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2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74E1448-E752-C446-CEAA-EA4441A36B5F}"/>
              </a:ext>
            </a:extLst>
          </p:cNvPr>
          <p:cNvSpPr/>
          <p:nvPr/>
        </p:nvSpPr>
        <p:spPr>
          <a:xfrm>
            <a:off x="1113338" y="1152062"/>
            <a:ext cx="1944656" cy="369332"/>
          </a:xfrm>
          <a:prstGeom prst="roundRect">
            <a:avLst/>
          </a:prstGeom>
          <a:solidFill>
            <a:srgbClr val="89C77A">
              <a:alpha val="27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3D733C-D3C7-7F61-3B6C-8186F2022A66}"/>
              </a:ext>
            </a:extLst>
          </p:cNvPr>
          <p:cNvSpPr txBox="1"/>
          <p:nvPr/>
        </p:nvSpPr>
        <p:spPr>
          <a:xfrm>
            <a:off x="6572740" y="56813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991187-C072-6DB0-32A0-6D65A2633F9E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Multiply 28">
            <a:extLst>
              <a:ext uri="{FF2B5EF4-FFF2-40B4-BE49-F238E27FC236}">
                <a16:creationId xmlns:a16="http://schemas.microsoft.com/office/drawing/2014/main" id="{71084FEF-E0D2-B5DD-2F99-CCDE7150694D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1" name="Multiply 30">
            <a:extLst>
              <a:ext uri="{FF2B5EF4-FFF2-40B4-BE49-F238E27FC236}">
                <a16:creationId xmlns:a16="http://schemas.microsoft.com/office/drawing/2014/main" id="{B1F61FCE-6EBC-57F0-74E6-55F462CC12E0}"/>
              </a:ext>
            </a:extLst>
          </p:cNvPr>
          <p:cNvSpPr/>
          <p:nvPr/>
        </p:nvSpPr>
        <p:spPr>
          <a:xfrm>
            <a:off x="3810107" y="553399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2" name="Multiply 31">
            <a:extLst>
              <a:ext uri="{FF2B5EF4-FFF2-40B4-BE49-F238E27FC236}">
                <a16:creationId xmlns:a16="http://schemas.microsoft.com/office/drawing/2014/main" id="{A0CC3F0D-4894-C60E-BA8D-4D14A20E89A7}"/>
              </a:ext>
            </a:extLst>
          </p:cNvPr>
          <p:cNvSpPr/>
          <p:nvPr/>
        </p:nvSpPr>
        <p:spPr>
          <a:xfrm>
            <a:off x="4761803" y="568136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24881AC-5A93-BD59-2DA0-EFEB297E6E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0713" y="1594616"/>
            <a:ext cx="4036286" cy="399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65902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A619093-9379-8E0B-4897-8481FCEB9568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D87AC5-F651-819F-0254-781240E8E1EF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2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88482A1-F256-DB0B-3FFA-DC4B145029A3}"/>
              </a:ext>
            </a:extLst>
          </p:cNvPr>
          <p:cNvSpPr/>
          <p:nvPr/>
        </p:nvSpPr>
        <p:spPr>
          <a:xfrm>
            <a:off x="3255259" y="568136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2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74E1448-E752-C446-CEAA-EA4441A36B5F}"/>
              </a:ext>
            </a:extLst>
          </p:cNvPr>
          <p:cNvSpPr/>
          <p:nvPr/>
        </p:nvSpPr>
        <p:spPr>
          <a:xfrm>
            <a:off x="1113338" y="1152062"/>
            <a:ext cx="1944656" cy="369332"/>
          </a:xfrm>
          <a:prstGeom prst="roundRect">
            <a:avLst/>
          </a:prstGeom>
          <a:solidFill>
            <a:srgbClr val="89C77A">
              <a:alpha val="27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3D733C-D3C7-7F61-3B6C-8186F2022A66}"/>
              </a:ext>
            </a:extLst>
          </p:cNvPr>
          <p:cNvSpPr txBox="1"/>
          <p:nvPr/>
        </p:nvSpPr>
        <p:spPr>
          <a:xfrm>
            <a:off x="6572740" y="56813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991187-C072-6DB0-32A0-6D65A2633F9E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35FD72A-D335-1A93-7C22-19E91668E913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4FFE5218-AD2E-9C43-1F6F-DCDB77928254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2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255DE3A5-34D3-F716-FF9B-7FBE6C8AEA1F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2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06EA73A-E150-F9BA-EE67-0AED259F8D9E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27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FB39C7D-5FD7-925C-C29C-8E3CEAB825F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418030-7A10-B0BB-4EAF-35A1363633BF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Multiply 28">
            <a:extLst>
              <a:ext uri="{FF2B5EF4-FFF2-40B4-BE49-F238E27FC236}">
                <a16:creationId xmlns:a16="http://schemas.microsoft.com/office/drawing/2014/main" id="{71084FEF-E0D2-B5DD-2F99-CCDE7150694D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1" name="Multiply 30">
            <a:extLst>
              <a:ext uri="{FF2B5EF4-FFF2-40B4-BE49-F238E27FC236}">
                <a16:creationId xmlns:a16="http://schemas.microsoft.com/office/drawing/2014/main" id="{B1F61FCE-6EBC-57F0-74E6-55F462CC12E0}"/>
              </a:ext>
            </a:extLst>
          </p:cNvPr>
          <p:cNvSpPr/>
          <p:nvPr/>
        </p:nvSpPr>
        <p:spPr>
          <a:xfrm>
            <a:off x="3810107" y="553399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2" name="Multiply 31">
            <a:extLst>
              <a:ext uri="{FF2B5EF4-FFF2-40B4-BE49-F238E27FC236}">
                <a16:creationId xmlns:a16="http://schemas.microsoft.com/office/drawing/2014/main" id="{A0CC3F0D-4894-C60E-BA8D-4D14A20E89A7}"/>
              </a:ext>
            </a:extLst>
          </p:cNvPr>
          <p:cNvSpPr/>
          <p:nvPr/>
        </p:nvSpPr>
        <p:spPr>
          <a:xfrm>
            <a:off x="4761803" y="568136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77DE343-3C00-E513-347D-9381F35AAC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0713" y="1594616"/>
            <a:ext cx="4036286" cy="399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05269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FD23E45C-1835-2125-B552-7B40BC0DA633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CF40057C-B58A-0042-E947-910E7268438A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27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C8DF80D-DFD2-6719-3375-97E82429F232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228F9577-3F64-C7D7-34C0-8D508ABED301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2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8C0027E-88D5-1DE1-D1E8-E99FC1C776EB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2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39434B9-2611-1889-0C21-A0646D3F7BED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27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DD3EE8-9196-B166-3547-F6F68D4CF3D9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543F874-C7E6-7EE1-1C43-C462E8451C2A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A71CF7F4-A352-A03B-FD18-691B8D2D8C41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E6B3F828-E665-0F72-9BDD-16B2EF87A1EC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A7FE53-18F1-83B7-1C8B-9A0508F4EF0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FFEA660-F637-5BFE-2E37-7ABF9B7AEFF4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CDD0912-9CA0-FEEF-3136-2F1773A4EF52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D31DB3D1-C019-0DDA-E2FF-E929897F0E11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B15CFD53-EEB2-10C7-0F83-BA101EEF525D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8CDC34F9-0A5B-0BC8-7BE8-E884B712301A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865E425-57A6-6421-B597-7A428C287022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F778310-1352-A4C7-E948-4624A67A21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4" name="Multiply 33">
            <a:extLst>
              <a:ext uri="{FF2B5EF4-FFF2-40B4-BE49-F238E27FC236}">
                <a16:creationId xmlns:a16="http://schemas.microsoft.com/office/drawing/2014/main" id="{689F85D3-CB37-ED7E-C1E1-324CE3AF46B2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5" name="Multiply 34">
            <a:extLst>
              <a:ext uri="{FF2B5EF4-FFF2-40B4-BE49-F238E27FC236}">
                <a16:creationId xmlns:a16="http://schemas.microsoft.com/office/drawing/2014/main" id="{FCBE5E06-DF07-E7D4-1211-EE7CD21FC066}"/>
              </a:ext>
            </a:extLst>
          </p:cNvPr>
          <p:cNvSpPr/>
          <p:nvPr/>
        </p:nvSpPr>
        <p:spPr>
          <a:xfrm>
            <a:off x="1668185" y="1015730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6" name="Multiply 35">
            <a:extLst>
              <a:ext uri="{FF2B5EF4-FFF2-40B4-BE49-F238E27FC236}">
                <a16:creationId xmlns:a16="http://schemas.microsoft.com/office/drawing/2014/main" id="{8E0AF13E-D75A-01C9-E5D9-2A8A704473B0}"/>
              </a:ext>
            </a:extLst>
          </p:cNvPr>
          <p:cNvSpPr/>
          <p:nvPr/>
        </p:nvSpPr>
        <p:spPr>
          <a:xfrm>
            <a:off x="2619881" y="1030467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8A94815-F4BC-8CAD-AA96-1C685D10D22A}"/>
              </a:ext>
            </a:extLst>
          </p:cNvPr>
          <p:cNvSpPr/>
          <p:nvPr/>
        </p:nvSpPr>
        <p:spPr>
          <a:xfrm>
            <a:off x="-8186" y="244021"/>
            <a:ext cx="6475433" cy="2927107"/>
          </a:xfrm>
          <a:prstGeom prst="rect">
            <a:avLst/>
          </a:prstGeom>
          <a:solidFill>
            <a:schemeClr val="bg1">
              <a:alpha val="7773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Monaco" pitchFamily="2" charset="77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08EB50D-A4EF-99AA-AD1B-D232533923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0713" y="1594616"/>
            <a:ext cx="4036286" cy="399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2266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4F4FC3-DA7E-32D7-618E-EDF0A1B53A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A5FE6F5-B4DA-43F5-327D-6EB7A6C21777}"/>
              </a:ext>
            </a:extLst>
          </p:cNvPr>
          <p:cNvSpPr txBox="1"/>
          <p:nvPr/>
        </p:nvSpPr>
        <p:spPr>
          <a:xfrm>
            <a:off x="926629" y="3953403"/>
            <a:ext cx="725510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5079C1"/>
                </a:solidFill>
                <a:latin typeface="Helvetica" pitchFamily="2" charset="0"/>
              </a:rPr>
              <a:t>“gg”</a:t>
            </a:r>
            <a:r>
              <a:rPr lang="en-US" sz="3200" dirty="0">
                <a:latin typeface="Helvetica" pitchFamily="2" charset="0"/>
              </a:rPr>
              <a:t> in ggplot2 stands for </a:t>
            </a:r>
          </a:p>
          <a:p>
            <a:r>
              <a:rPr lang="en-US" sz="3200" b="1" dirty="0">
                <a:latin typeface="Helvetica" pitchFamily="2" charset="0"/>
              </a:rPr>
              <a:t>“Grammar of Graphics”</a:t>
            </a:r>
            <a:endParaRPr lang="en-US" sz="2400" b="1" dirty="0">
              <a:latin typeface="Helvetic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Helvetica" pitchFamily="2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5A79B9A9-8F80-68BC-1F29-C0B84CCA21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289" y="113108"/>
            <a:ext cx="3048000" cy="351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878177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337950C2-4777-E724-0C07-000393264966}"/>
              </a:ext>
            </a:extLst>
          </p:cNvPr>
          <p:cNvSpPr/>
          <p:nvPr/>
        </p:nvSpPr>
        <p:spPr>
          <a:xfrm>
            <a:off x="1102874" y="5302272"/>
            <a:ext cx="1927596" cy="369332"/>
          </a:xfrm>
          <a:prstGeom prst="roundRect">
            <a:avLst/>
          </a:prstGeom>
          <a:solidFill>
            <a:srgbClr val="89C77A">
              <a:alpha val="27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DB866837-5A72-D74D-52FD-5254B3D660E8}"/>
              </a:ext>
            </a:extLst>
          </p:cNvPr>
          <p:cNvSpPr/>
          <p:nvPr/>
        </p:nvSpPr>
        <p:spPr>
          <a:xfrm>
            <a:off x="59619" y="4376848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2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E9FED717-A3F8-4FD5-D90A-B535424A0E8C}"/>
              </a:ext>
            </a:extLst>
          </p:cNvPr>
          <p:cNvSpPr/>
          <p:nvPr/>
        </p:nvSpPr>
        <p:spPr>
          <a:xfrm>
            <a:off x="1088456" y="4839448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2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818567E-2505-D045-2B73-1E2AA6C72235}"/>
              </a:ext>
            </a:extLst>
          </p:cNvPr>
          <p:cNvSpPr txBox="1"/>
          <p:nvPr/>
        </p:nvSpPr>
        <p:spPr>
          <a:xfrm>
            <a:off x="1039963" y="439688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%&gt;%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A9FC18E-CEF6-92F9-8F1D-7785AFA9623B}"/>
              </a:ext>
            </a:extLst>
          </p:cNvPr>
          <p:cNvSpPr txBox="1"/>
          <p:nvPr/>
        </p:nvSpPr>
        <p:spPr>
          <a:xfrm>
            <a:off x="10827" y="485788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92737A0-1DFE-79BA-3B7E-56717F7A98D8}"/>
              </a:ext>
            </a:extLst>
          </p:cNvPr>
          <p:cNvSpPr txBox="1"/>
          <p:nvPr/>
        </p:nvSpPr>
        <p:spPr>
          <a:xfrm>
            <a:off x="3895882" y="4840564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9E50BF-6386-D3F4-5619-9CBFD4DD2A4E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B2C2EB3-C62C-EA27-BB13-BFE82AF4B03D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6326DE-1135-A521-BCCB-ECBE2897199E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CB5877-6AB7-0AE8-3C1E-79606626D336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443E92F-3ECD-1D22-82DF-74A0D2A54CAF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C25E0A1F-D9A6-830A-ADBF-809999202AF1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B7EFCC1B-A2B0-6B52-0E9D-7DE7618DABB9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C303AFF-0DB3-EB67-920A-4240A4AF3217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380A0EB9-E576-BE09-2B87-6A7E0A3A29EB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AA3D04FD-CB83-6305-ECC0-9EF94DFF0E45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6B561273-B18F-AD90-05A4-DB673FC195D3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7028D87-7B9E-3C87-8098-D5EB5AAE24B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7592773-E7A4-F0EC-63F1-D70682ACA102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E5FB3FC-1BFB-2EA9-5B65-836E50C6AA1C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1F9A5EEB-1417-0094-FB30-C361114BD24B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BF1CC378-5814-B600-EAB7-D56735711313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8431C3EB-A308-D0BD-BCB9-8D33CA4E46AC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CC73B30-0263-4540-29F9-4874E37C1AB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3016DD1-5207-11D9-C5BD-5E29875488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8A94815-F4BC-8CAD-AA96-1C685D10D22A}"/>
              </a:ext>
            </a:extLst>
          </p:cNvPr>
          <p:cNvSpPr/>
          <p:nvPr/>
        </p:nvSpPr>
        <p:spPr>
          <a:xfrm>
            <a:off x="10827" y="136600"/>
            <a:ext cx="6475433" cy="4047345"/>
          </a:xfrm>
          <a:prstGeom prst="rect">
            <a:avLst/>
          </a:prstGeom>
          <a:solidFill>
            <a:schemeClr val="bg1">
              <a:alpha val="7773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Monaco" pitchFamily="2" charset="77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C822EAE-803D-C3C1-A0C5-BE48CE9B07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0713" y="1594616"/>
            <a:ext cx="4036286" cy="399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6048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337950C2-4777-E724-0C07-000393264966}"/>
              </a:ext>
            </a:extLst>
          </p:cNvPr>
          <p:cNvSpPr/>
          <p:nvPr/>
        </p:nvSpPr>
        <p:spPr>
          <a:xfrm>
            <a:off x="1102874" y="5302272"/>
            <a:ext cx="1927596" cy="369332"/>
          </a:xfrm>
          <a:prstGeom prst="roundRect">
            <a:avLst/>
          </a:prstGeom>
          <a:solidFill>
            <a:srgbClr val="89C77A">
              <a:alpha val="2734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DB866837-5A72-D74D-52FD-5254B3D660E8}"/>
              </a:ext>
            </a:extLst>
          </p:cNvPr>
          <p:cNvSpPr/>
          <p:nvPr/>
        </p:nvSpPr>
        <p:spPr>
          <a:xfrm>
            <a:off x="59619" y="4376848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2734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E9FED717-A3F8-4FD5-D90A-B535424A0E8C}"/>
              </a:ext>
            </a:extLst>
          </p:cNvPr>
          <p:cNvSpPr/>
          <p:nvPr/>
        </p:nvSpPr>
        <p:spPr>
          <a:xfrm>
            <a:off x="1088456" y="4839448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2734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818567E-2505-D045-2B73-1E2AA6C72235}"/>
              </a:ext>
            </a:extLst>
          </p:cNvPr>
          <p:cNvSpPr txBox="1"/>
          <p:nvPr/>
        </p:nvSpPr>
        <p:spPr>
          <a:xfrm>
            <a:off x="1039963" y="439688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%&gt;%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A9FC18E-CEF6-92F9-8F1D-7785AFA9623B}"/>
              </a:ext>
            </a:extLst>
          </p:cNvPr>
          <p:cNvSpPr txBox="1"/>
          <p:nvPr/>
        </p:nvSpPr>
        <p:spPr>
          <a:xfrm>
            <a:off x="10827" y="485788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92737A0-1DFE-79BA-3B7E-56717F7A98D8}"/>
              </a:ext>
            </a:extLst>
          </p:cNvPr>
          <p:cNvSpPr txBox="1"/>
          <p:nvPr/>
        </p:nvSpPr>
        <p:spPr>
          <a:xfrm>
            <a:off x="3895882" y="4840564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9E50BF-6386-D3F4-5619-9CBFD4DD2A4E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B2C2EB3-C62C-EA27-BB13-BFE82AF4B03D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2734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6326DE-1135-A521-BCCB-ECBE2897199E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CB5877-6AB7-0AE8-3C1E-79606626D336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443E92F-3ECD-1D22-82DF-74A0D2A54CAF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2734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C25E0A1F-D9A6-830A-ADBF-809999202AF1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2734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B7EFCC1B-A2B0-6B52-0E9D-7DE7618DABB9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2734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C303AFF-0DB3-EB67-920A-4240A4AF3217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380A0EB9-E576-BE09-2B87-6A7E0A3A29EB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2734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AA3D04FD-CB83-6305-ECC0-9EF94DFF0E45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2734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6B561273-B18F-AD90-05A4-DB673FC195D3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2734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7028D87-7B9E-3C87-8098-D5EB5AAE24B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7592773-E7A4-F0EC-63F1-D70682ACA102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E5FB3FC-1BFB-2EA9-5B65-836E50C6AA1C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1F9A5EEB-1417-0094-FB30-C361114BD24B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2734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BF1CC378-5814-B600-EAB7-D56735711313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2734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8431C3EB-A308-D0BD-BCB9-8D33CA4E46AC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2734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CC73B30-0263-4540-29F9-4874E37C1AB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3016DD1-5207-11D9-C5BD-5E29875488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9C0B0BEB-8575-C866-472D-4C5372F307B1}"/>
              </a:ext>
            </a:extLst>
          </p:cNvPr>
          <p:cNvSpPr/>
          <p:nvPr/>
        </p:nvSpPr>
        <p:spPr>
          <a:xfrm>
            <a:off x="3650602" y="5493894"/>
            <a:ext cx="3757534" cy="88442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se all produce the same figure!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D3E3489-B8F4-5935-D692-6663FB91EB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0713" y="1594616"/>
            <a:ext cx="4036286" cy="399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49959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463757" y="872423"/>
            <a:ext cx="81096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accent2">
                    <a:lumMod val="75000"/>
                  </a:schemeClr>
                </a:solidFill>
                <a:latin typeface="Helvetica" pitchFamily="2" charset="0"/>
              </a:rPr>
              <a:t>Aesthetics</a:t>
            </a:r>
            <a:r>
              <a:rPr lang="en-US" sz="4000" dirty="0">
                <a:solidFill>
                  <a:schemeClr val="accent2">
                    <a:lumMod val="60000"/>
                    <a:lumOff val="40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define any </a:t>
            </a:r>
            <a:r>
              <a:rPr lang="en-US" sz="4000" dirty="0">
                <a:solidFill>
                  <a:schemeClr val="accent1"/>
                </a:solidFill>
                <a:latin typeface="Helvetica" pitchFamily="2" charset="0"/>
              </a:rPr>
              <a:t>data</a:t>
            </a:r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that gets mapped to </a:t>
            </a:r>
            <a:r>
              <a:rPr lang="en-US" sz="4000" dirty="0">
                <a:solidFill>
                  <a:schemeClr val="accent6"/>
                </a:solidFill>
                <a:latin typeface="Helvetica" pitchFamily="2" charset="0"/>
              </a:rPr>
              <a:t>geometry</a:t>
            </a:r>
          </a:p>
          <a:p>
            <a:r>
              <a:rPr lang="en-US" sz="4000" dirty="0">
                <a:latin typeface="Helvetica" pitchFamily="2" charset="0"/>
              </a:rPr>
              <a:t>(such as color, size, shape, etc.)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9C0987F-914C-AAF6-3C61-9651156B5CCE}"/>
              </a:ext>
            </a:extLst>
          </p:cNvPr>
          <p:cNvSpPr txBox="1"/>
          <p:nvPr/>
        </p:nvSpPr>
        <p:spPr>
          <a:xfrm>
            <a:off x="559776" y="3697375"/>
            <a:ext cx="810967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Monaco" pitchFamily="2" charset="77"/>
              </a:rPr>
              <a:t>ggplot</a:t>
            </a:r>
            <a:r>
              <a:rPr lang="en-US" sz="2400" dirty="0">
                <a:latin typeface="Monaco" pitchFamily="2" charset="77"/>
              </a:rPr>
              <a:t>(data = </a:t>
            </a:r>
            <a:r>
              <a:rPr lang="en-US" sz="2400" dirty="0" err="1">
                <a:latin typeface="Monaco" pitchFamily="2" charset="77"/>
              </a:rPr>
              <a:t>yourData</a:t>
            </a:r>
            <a:r>
              <a:rPr lang="en-US" sz="2400" dirty="0">
                <a:latin typeface="Monaco" pitchFamily="2" charset="77"/>
              </a:rPr>
              <a:t>, </a:t>
            </a:r>
          </a:p>
          <a:p>
            <a:r>
              <a:rPr lang="en-US" sz="2400" dirty="0">
                <a:latin typeface="Monaco" pitchFamily="2" charset="77"/>
              </a:rPr>
              <a:t>	  </a:t>
            </a:r>
            <a:r>
              <a:rPr lang="en-US" sz="2400" dirty="0" err="1">
                <a:latin typeface="Monaco" pitchFamily="2" charset="77"/>
              </a:rPr>
              <a:t>aes</a:t>
            </a:r>
            <a:r>
              <a:rPr lang="en-US" sz="2400" dirty="0">
                <a:latin typeface="Monaco" pitchFamily="2" charset="77"/>
              </a:rPr>
              <a:t>(x = </a:t>
            </a:r>
            <a:r>
              <a:rPr lang="en-US" sz="2400" dirty="0" err="1">
                <a:latin typeface="Monaco" pitchFamily="2" charset="77"/>
              </a:rPr>
              <a:t>xaxis,y</a:t>
            </a:r>
            <a:r>
              <a:rPr lang="en-US" sz="2400" dirty="0">
                <a:latin typeface="Monaco" pitchFamily="2" charset="77"/>
              </a:rPr>
              <a:t> = </a:t>
            </a:r>
            <a:r>
              <a:rPr lang="en-US" sz="2400" dirty="0" err="1">
                <a:latin typeface="Monaco" pitchFamily="2" charset="77"/>
              </a:rPr>
              <a:t>yaxis</a:t>
            </a:r>
            <a:r>
              <a:rPr lang="en-US" sz="2400" dirty="0">
                <a:latin typeface="Monaco" pitchFamily="2" charset="77"/>
              </a:rPr>
              <a:t>))+</a:t>
            </a:r>
          </a:p>
          <a:p>
            <a:r>
              <a:rPr lang="en-US" sz="2400" dirty="0">
                <a:latin typeface="Monaco" pitchFamily="2" charset="77"/>
              </a:rPr>
              <a:t>	  </a:t>
            </a:r>
            <a:r>
              <a:rPr lang="en-US" sz="2400" dirty="0" err="1">
                <a:latin typeface="Monaco" pitchFamily="2" charset="77"/>
              </a:rPr>
              <a:t>geom_point</a:t>
            </a:r>
            <a:r>
              <a:rPr lang="en-US" sz="2400" dirty="0">
                <a:latin typeface="Monaco" pitchFamily="2" charset="77"/>
              </a:rPr>
              <a:t>()</a:t>
            </a:r>
          </a:p>
          <a:p>
            <a:endParaRPr lang="en-US" sz="2400" dirty="0">
              <a:latin typeface="Andale Mono" panose="020B0509000000000004" pitchFamily="49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71CEC0C7-1A8A-D97B-A0EE-EA5E277E5E12}"/>
              </a:ext>
            </a:extLst>
          </p:cNvPr>
          <p:cNvSpPr/>
          <p:nvPr/>
        </p:nvSpPr>
        <p:spPr>
          <a:xfrm>
            <a:off x="1784449" y="4082863"/>
            <a:ext cx="4541195" cy="508787"/>
          </a:xfrm>
          <a:prstGeom prst="roundRect">
            <a:avLst>
              <a:gd name="adj" fmla="val 50000"/>
            </a:avLst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36408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4C33F7-0AE3-BB04-BBA0-3C3AB64FE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2E3E4A31-40AE-31A8-DC3E-A6A2DF80EA4F}"/>
              </a:ext>
            </a:extLst>
          </p:cNvPr>
          <p:cNvSpPr txBox="1"/>
          <p:nvPr/>
        </p:nvSpPr>
        <p:spPr>
          <a:xfrm>
            <a:off x="559776" y="3697375"/>
            <a:ext cx="1144172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Andale Mono" panose="020B0509000000000004" pitchFamily="49" charset="0"/>
              </a:rPr>
              <a:t>ggplot</a:t>
            </a:r>
            <a:r>
              <a:rPr lang="en-US" sz="2400" dirty="0">
                <a:latin typeface="Andale Mono" panose="020B0509000000000004" pitchFamily="49" charset="0"/>
              </a:rPr>
              <a:t>(data = happy, 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  </a:t>
            </a:r>
            <a:r>
              <a:rPr lang="en-US" sz="2400" dirty="0" err="1">
                <a:latin typeface="Andale Mono" panose="020B0509000000000004" pitchFamily="49" charset="0"/>
              </a:rPr>
              <a:t>aes</a:t>
            </a:r>
            <a:r>
              <a:rPr lang="en-US" sz="2400" dirty="0">
                <a:latin typeface="Andale Mono" panose="020B0509000000000004" pitchFamily="49" charset="0"/>
              </a:rPr>
              <a:t>(x = </a:t>
            </a:r>
            <a:r>
              <a:rPr lang="en-US" sz="2400" dirty="0" err="1">
                <a:latin typeface="Andale Mono" panose="020B0509000000000004" pitchFamily="49" charset="0"/>
              </a:rPr>
              <a:t>happiness,y</a:t>
            </a:r>
            <a:r>
              <a:rPr lang="en-US" sz="2400" dirty="0">
                <a:latin typeface="Andale Mono" panose="020B0509000000000004" pitchFamily="49" charset="0"/>
              </a:rPr>
              <a:t> = GDP,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shape=     , 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size=      , 			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col=	      ))+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  </a:t>
            </a:r>
            <a:r>
              <a:rPr lang="en-US" sz="2400" dirty="0" err="1">
                <a:latin typeface="Andale Mono" panose="020B0509000000000004" pitchFamily="49" charset="0"/>
              </a:rPr>
              <a:t>geom_point</a:t>
            </a:r>
            <a:r>
              <a:rPr lang="en-US" sz="2400" dirty="0">
                <a:latin typeface="Andale Mono" panose="020B0509000000000004" pitchFamily="49" charset="0"/>
              </a:rPr>
              <a:t>()</a:t>
            </a:r>
          </a:p>
          <a:p>
            <a:endParaRPr lang="en-US" sz="2400" dirty="0">
              <a:latin typeface="Andale Mono" panose="020B0509000000000004" pitchFamily="49" charset="0"/>
            </a:endParaRPr>
          </a:p>
          <a:p>
            <a:endParaRPr lang="en-US" sz="2400" dirty="0">
              <a:latin typeface="Andale Mono" panose="020B0509000000000004" pitchFamily="49" charset="0"/>
            </a:endParaRPr>
          </a:p>
          <a:p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066AB6-B47D-A12B-54AF-1236C4AA27A1}"/>
              </a:ext>
            </a:extLst>
          </p:cNvPr>
          <p:cNvSpPr txBox="1"/>
          <p:nvPr/>
        </p:nvSpPr>
        <p:spPr>
          <a:xfrm>
            <a:off x="463757" y="872423"/>
            <a:ext cx="81096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accent2">
                    <a:lumMod val="75000"/>
                  </a:schemeClr>
                </a:solidFill>
                <a:latin typeface="Helvetica" pitchFamily="2" charset="0"/>
              </a:rPr>
              <a:t>Aesthetics</a:t>
            </a:r>
            <a:r>
              <a:rPr lang="en-US" sz="4000" dirty="0">
                <a:solidFill>
                  <a:schemeClr val="accent2">
                    <a:lumMod val="60000"/>
                    <a:lumOff val="40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define any </a:t>
            </a:r>
            <a:r>
              <a:rPr lang="en-US" sz="4000" dirty="0">
                <a:solidFill>
                  <a:schemeClr val="accent1"/>
                </a:solidFill>
                <a:latin typeface="Helvetica" pitchFamily="2" charset="0"/>
              </a:rPr>
              <a:t>data</a:t>
            </a:r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that gets mapped to </a:t>
            </a:r>
            <a:r>
              <a:rPr lang="en-US" sz="4000" dirty="0">
                <a:solidFill>
                  <a:schemeClr val="accent6"/>
                </a:solidFill>
                <a:latin typeface="Helvetica" pitchFamily="2" charset="0"/>
              </a:rPr>
              <a:t>geometry</a:t>
            </a:r>
          </a:p>
          <a:p>
            <a:r>
              <a:rPr lang="en-US" sz="4000" dirty="0">
                <a:latin typeface="Helvetica" pitchFamily="2" charset="0"/>
              </a:rPr>
              <a:t>(such as color, size, shape, etc.) 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F1EB38A-2536-B4AC-6FF6-B9CDA6BDA5ED}"/>
              </a:ext>
            </a:extLst>
          </p:cNvPr>
          <p:cNvSpPr/>
          <p:nvPr/>
        </p:nvSpPr>
        <p:spPr>
          <a:xfrm>
            <a:off x="3582527" y="4557713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192DBC46-6E71-7315-0BB7-EBC3A94B1BE6}"/>
              </a:ext>
            </a:extLst>
          </p:cNvPr>
          <p:cNvSpPr/>
          <p:nvPr/>
        </p:nvSpPr>
        <p:spPr>
          <a:xfrm>
            <a:off x="3427354" y="4909619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86A35964-094C-3F51-4A61-D95771851E4D}"/>
              </a:ext>
            </a:extLst>
          </p:cNvPr>
          <p:cNvSpPr/>
          <p:nvPr/>
        </p:nvSpPr>
        <p:spPr>
          <a:xfrm>
            <a:off x="3427354" y="5261525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597206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0EE381-861F-0D3D-0689-EA2FDC09AD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graph&#10;&#10;AI-generated content may be incorrect.">
            <a:extLst>
              <a:ext uri="{FF2B5EF4-FFF2-40B4-BE49-F238E27FC236}">
                <a16:creationId xmlns:a16="http://schemas.microsoft.com/office/drawing/2014/main" id="{8E4498CA-AEBB-4ACA-BDAD-0E5E235C6F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9022" y="873697"/>
            <a:ext cx="7772400" cy="43416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A7EE0A1-3F91-0CF8-4DC2-EEBB15B4016D}"/>
              </a:ext>
            </a:extLst>
          </p:cNvPr>
          <p:cNvSpPr/>
          <p:nvPr/>
        </p:nvSpPr>
        <p:spPr>
          <a:xfrm>
            <a:off x="6782049" y="1365603"/>
            <a:ext cx="2841637" cy="3453734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27ED0BF-6B30-70AA-273A-BBD2A1B261B9}"/>
              </a:ext>
            </a:extLst>
          </p:cNvPr>
          <p:cNvSpPr/>
          <p:nvPr/>
        </p:nvSpPr>
        <p:spPr>
          <a:xfrm>
            <a:off x="3426751" y="1317660"/>
            <a:ext cx="1505013" cy="3453734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67846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C5426D-97F4-15D7-7B78-9E5B30E57E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52013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highlight>
                  <a:srgbClr val="E2C2AE"/>
                </a:highlight>
                <a:latin typeface="Monaco" pitchFamily="2" charset="77"/>
              </a:rPr>
              <a:t>aes</a:t>
            </a:r>
            <a:r>
              <a:rPr lang="en-US" dirty="0">
                <a:highlight>
                  <a:srgbClr val="E2C2AE"/>
                </a:highlight>
                <a:latin typeface="Monaco" pitchFamily="2" charset="77"/>
              </a:rPr>
              <a:t>(col=continent</a:t>
            </a:r>
            <a:r>
              <a:rPr lang="en-US" dirty="0">
                <a:latin typeface="Monaco" pitchFamily="2" charset="77"/>
              </a:rPr>
              <a:t>))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F6171E0-CF1E-27ED-0CAC-0EE556555F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7588" y="719528"/>
            <a:ext cx="6474753" cy="590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65478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64695" y="2394422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C62D22E-292E-258C-28D9-731EABF7C185}"/>
              </a:ext>
            </a:extLst>
          </p:cNvPr>
          <p:cNvSpPr/>
          <p:nvPr/>
        </p:nvSpPr>
        <p:spPr>
          <a:xfrm>
            <a:off x="468999" y="807148"/>
            <a:ext cx="5716186" cy="145192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76653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‘blue’)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3F72D77-F0CA-C28A-0CFD-8ACCCF2F94F0}"/>
              </a:ext>
            </a:extLst>
          </p:cNvPr>
          <p:cNvSpPr/>
          <p:nvPr/>
        </p:nvSpPr>
        <p:spPr>
          <a:xfrm>
            <a:off x="489052" y="628630"/>
            <a:ext cx="5716186" cy="288266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25280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‘blue’)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3F72D77-F0CA-C28A-0CFD-8ACCCF2F94F0}"/>
              </a:ext>
            </a:extLst>
          </p:cNvPr>
          <p:cNvSpPr/>
          <p:nvPr/>
        </p:nvSpPr>
        <p:spPr>
          <a:xfrm>
            <a:off x="3364788" y="647590"/>
            <a:ext cx="5716186" cy="288266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9E1A92-D435-5F51-4C45-CDDA3188C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9948" y="794479"/>
            <a:ext cx="6222052" cy="554233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437BC2F-69AF-E76A-1CEB-7D1F47806E10}"/>
              </a:ext>
            </a:extLst>
          </p:cNvPr>
          <p:cNvSpPr txBox="1"/>
          <p:nvPr/>
        </p:nvSpPr>
        <p:spPr>
          <a:xfrm>
            <a:off x="4185138" y="5136482"/>
            <a:ext cx="270803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dirty="0">
                <a:solidFill>
                  <a:schemeClr val="accent2">
                    <a:lumMod val="75000"/>
                  </a:schemeClr>
                </a:solidFill>
              </a:rPr>
              <a:t>?!?</a:t>
            </a:r>
          </a:p>
        </p:txBody>
      </p:sp>
    </p:spTree>
    <p:extLst>
      <p:ext uri="{BB962C8B-B14F-4D97-AF65-F5344CB8AC3E}">
        <p14:creationId xmlns:p14="http://schemas.microsoft.com/office/powerpoint/2010/main" val="3237208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91A5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D989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A990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0D1B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E2C2A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92A7D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940712" y="122811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940712" y="1916327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940712" y="260158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940712" y="32616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940712" y="405555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940712" y="483838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hem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6830E48-7643-8F34-8493-9E9FC85A1F9B}"/>
              </a:ext>
            </a:extLst>
          </p:cNvPr>
          <p:cNvSpPr txBox="1"/>
          <p:nvPr/>
        </p:nvSpPr>
        <p:spPr>
          <a:xfrm>
            <a:off x="926629" y="3953403"/>
            <a:ext cx="725510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5079C1"/>
                </a:solidFill>
                <a:latin typeface="Helvetica" pitchFamily="2" charset="0"/>
              </a:rPr>
              <a:t>“gg”</a:t>
            </a:r>
            <a:r>
              <a:rPr lang="en-US" sz="3200" dirty="0">
                <a:latin typeface="Helvetica" pitchFamily="2" charset="0"/>
              </a:rPr>
              <a:t> in ggplot2 stands for </a:t>
            </a:r>
          </a:p>
          <a:p>
            <a:r>
              <a:rPr lang="en-US" sz="3200" b="1" dirty="0">
                <a:latin typeface="Helvetica" pitchFamily="2" charset="0"/>
              </a:rPr>
              <a:t>“Grammar of Graphics”</a:t>
            </a:r>
          </a:p>
          <a:p>
            <a:endParaRPr lang="en-US" sz="3200" dirty="0">
              <a:latin typeface="Helvetica" pitchFamily="2" charset="0"/>
            </a:endParaRPr>
          </a:p>
          <a:p>
            <a:r>
              <a:rPr lang="en-US" sz="2400" dirty="0">
                <a:latin typeface="Helvetica" pitchFamily="2" charset="0"/>
              </a:rPr>
              <a:t>Graphics are built by layering elements</a:t>
            </a:r>
          </a:p>
          <a:p>
            <a:endParaRPr lang="en-US" sz="2400" dirty="0">
              <a:latin typeface="Helvetic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Helvetica" pitchFamily="2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22B10A4A-FB2C-32E1-CEDF-971FA7405C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289" y="113108"/>
            <a:ext cx="3048000" cy="351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304554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col=‘blue’)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99E1A92-D435-5F51-4C45-CDDA3188C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9948" y="794479"/>
            <a:ext cx="6222052" cy="5542332"/>
          </a:xfrm>
          <a:prstGeom prst="rect">
            <a:avLst/>
          </a:prstGeom>
        </p:spPr>
      </p:pic>
      <p:pic>
        <p:nvPicPr>
          <p:cNvPr id="9" name="Picture 8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BBBEE64D-CDC6-F782-5AB0-DD1DC01E8F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024" t="1" r="35274" b="-12316"/>
          <a:stretch/>
        </p:blipFill>
        <p:spPr>
          <a:xfrm>
            <a:off x="856335" y="864852"/>
            <a:ext cx="2946946" cy="224286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7958A1-42A2-1136-0D7B-5C9F2EF46E86}"/>
              </a:ext>
            </a:extLst>
          </p:cNvPr>
          <p:cNvSpPr txBox="1"/>
          <p:nvPr/>
        </p:nvSpPr>
        <p:spPr>
          <a:xfrm>
            <a:off x="3580694" y="1018077"/>
            <a:ext cx="1074499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 err="1">
                <a:latin typeface="Andale Mono" panose="020B0509000000000004" pitchFamily="49" charset="0"/>
              </a:rPr>
              <a:t>colour</a:t>
            </a:r>
            <a:endParaRPr lang="en-US" sz="1600" dirty="0">
              <a:latin typeface="Andale Mono" panose="020B0509000000000004" pitchFamily="49" charset="0"/>
            </a:endParaRP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FF343ACF-7A9B-2BEC-3DF2-752180AC6A55}"/>
              </a:ext>
            </a:extLst>
          </p:cNvPr>
          <p:cNvSpPr/>
          <p:nvPr/>
        </p:nvSpPr>
        <p:spPr>
          <a:xfrm>
            <a:off x="3803282" y="1018078"/>
            <a:ext cx="951338" cy="1846658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50926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C5426D-97F4-15D7-7B78-9E5B30E57E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22B4B5B-02B0-951F-51BC-F914190DECE3}"/>
              </a:ext>
            </a:extLst>
          </p:cNvPr>
          <p:cNvSpPr txBox="1"/>
          <p:nvPr/>
        </p:nvSpPr>
        <p:spPr>
          <a:xfrm>
            <a:off x="1064712" y="2918564"/>
            <a:ext cx="41586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 can also set conditional formatting. </a:t>
            </a:r>
          </a:p>
          <a:p>
            <a:endParaRPr lang="en-US" dirty="0"/>
          </a:p>
          <a:p>
            <a:r>
              <a:rPr lang="en-US" dirty="0"/>
              <a:t>e.g. Use different colors for points where happiness is &gt; 5</a:t>
            </a:r>
          </a:p>
        </p:txBody>
      </p:sp>
    </p:spTree>
    <p:extLst>
      <p:ext uri="{BB962C8B-B14F-4D97-AF65-F5344CB8AC3E}">
        <p14:creationId xmlns:p14="http://schemas.microsoft.com/office/powerpoint/2010/main" val="37669493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33659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)</a:t>
            </a: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happiness &gt; 5)</a:t>
            </a: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A5FD29-C4BC-B23E-FC61-A01A49604E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5941" y="659597"/>
            <a:ext cx="5780675" cy="5538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2257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03331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14709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11686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36744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62266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22705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62266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644742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62266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879722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879722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879722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879722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879722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879722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285E69B7-4A75-B36F-30A6-C48A0C0D6C5E}"/>
              </a:ext>
            </a:extLst>
          </p:cNvPr>
          <p:cNvSpPr/>
          <p:nvPr/>
        </p:nvSpPr>
        <p:spPr>
          <a:xfrm rot="1070933" flipH="1">
            <a:off x="9522326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334EF54-A298-FC5E-981C-587699EB5B2A}"/>
              </a:ext>
            </a:extLst>
          </p:cNvPr>
          <p:cNvSpPr txBox="1"/>
          <p:nvPr/>
        </p:nvSpPr>
        <p:spPr>
          <a:xfrm>
            <a:off x="7911170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pic>
        <p:nvPicPr>
          <p:cNvPr id="6" name="Picture 5" descr="A diagram of a mathematical equation&#10;&#10;Description automatically generated with medium confidence">
            <a:extLst>
              <a:ext uri="{FF2B5EF4-FFF2-40B4-BE49-F238E27FC236}">
                <a16:creationId xmlns:a16="http://schemas.microsoft.com/office/drawing/2014/main" id="{1CD69B61-59DE-FEA1-1285-0CFA7CA809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71" t="40580" r="8321" b="6779"/>
          <a:stretch/>
        </p:blipFill>
        <p:spPr>
          <a:xfrm>
            <a:off x="142089" y="2806074"/>
            <a:ext cx="7898802" cy="234508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4B129D9-E787-8888-55D1-444B64B99C3E}"/>
              </a:ext>
            </a:extLst>
          </p:cNvPr>
          <p:cNvSpPr txBox="1"/>
          <p:nvPr/>
        </p:nvSpPr>
        <p:spPr>
          <a:xfrm>
            <a:off x="413360" y="601249"/>
            <a:ext cx="6438378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46674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521940-8E2C-AF9C-BDF5-83E67D7E06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graph of a line&#10;&#10;Description automatically generated with medium confidence">
            <a:extLst>
              <a:ext uri="{FF2B5EF4-FFF2-40B4-BE49-F238E27FC236}">
                <a16:creationId xmlns:a16="http://schemas.microsoft.com/office/drawing/2014/main" id="{8F20AC13-17C9-4F1C-3633-5EE7ED8411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65319"/>
            <a:ext cx="5804780" cy="2942763"/>
          </a:xfrm>
          <a:prstGeom prst="rect">
            <a:avLst/>
          </a:prstGeom>
        </p:spPr>
      </p:pic>
      <p:pic>
        <p:nvPicPr>
          <p:cNvPr id="11" name="Picture 10" descr="A screenshot of a graph&#10;&#10;Description automatically generated">
            <a:extLst>
              <a:ext uri="{FF2B5EF4-FFF2-40B4-BE49-F238E27FC236}">
                <a16:creationId xmlns:a16="http://schemas.microsoft.com/office/drawing/2014/main" id="{8203AFF3-9CF6-B487-FBCE-82F4ABAAD2B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92" t="49917" r="49397"/>
          <a:stretch/>
        </p:blipFill>
        <p:spPr>
          <a:xfrm>
            <a:off x="5608532" y="879520"/>
            <a:ext cx="2817256" cy="1435686"/>
          </a:xfrm>
          <a:prstGeom prst="rect">
            <a:avLst/>
          </a:prstGeom>
        </p:spPr>
      </p:pic>
      <p:pic>
        <p:nvPicPr>
          <p:cNvPr id="19" name="Picture 18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F0920164-50B3-A9F0-0AA9-1B6A10CF8B6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606" r="34937" b="5402"/>
          <a:stretch/>
        </p:blipFill>
        <p:spPr>
          <a:xfrm>
            <a:off x="5547835" y="3614885"/>
            <a:ext cx="2776327" cy="1378863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AD7B815-3037-47C9-E132-98D5317304F0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D839706-E802-D4D9-BDD7-C8D5A0558A06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Aesthetic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99AFE48-83FB-7FC0-94EE-CCBAD99D5567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tatistic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AFC0B71-C7DF-89A0-84F0-0C72D688163B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682E337-C31B-115D-672E-DF3318B1F66D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60F09483-38EF-F784-EC67-50B52F827DB3}"/>
              </a:ext>
            </a:extLst>
          </p:cNvPr>
          <p:cNvSpPr/>
          <p:nvPr/>
        </p:nvSpPr>
        <p:spPr>
          <a:xfrm rot="1070933" flipH="1">
            <a:off x="9717198" y="5508825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45CA413-B3E1-8226-616F-1DB0AA8E4C48}"/>
              </a:ext>
            </a:extLst>
          </p:cNvPr>
          <p:cNvSpPr txBox="1"/>
          <p:nvPr/>
        </p:nvSpPr>
        <p:spPr>
          <a:xfrm>
            <a:off x="8106042" y="564845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196B83B-F013-032A-CCE7-3A6F9C48DA99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B4F6D4C-2529-EADB-F9CE-6341375475A3}"/>
              </a:ext>
            </a:extLst>
          </p:cNvPr>
          <p:cNvSpPr/>
          <p:nvPr/>
        </p:nvSpPr>
        <p:spPr>
          <a:xfrm>
            <a:off x="41329" y="864292"/>
            <a:ext cx="1525829" cy="1368278"/>
          </a:xfrm>
          <a:prstGeom prst="ellipse">
            <a:avLst/>
          </a:prstGeom>
          <a:noFill/>
          <a:ln w="57150"/>
          <a:effectLst>
            <a:glow>
              <a:schemeClr val="bg1">
                <a:alpha val="40000"/>
              </a:schemeClr>
            </a:glo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group of graphs on a white background&#10;&#10;Description automatically generated">
            <a:extLst>
              <a:ext uri="{FF2B5EF4-FFF2-40B4-BE49-F238E27FC236}">
                <a16:creationId xmlns:a16="http://schemas.microsoft.com/office/drawing/2014/main" id="{19B6EF59-26EE-783D-07F4-46C5358949E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305"/>
          <a:stretch/>
        </p:blipFill>
        <p:spPr>
          <a:xfrm>
            <a:off x="34232" y="3474671"/>
            <a:ext cx="5574300" cy="2885812"/>
          </a:xfrm>
          <a:prstGeom prst="rect">
            <a:avLst/>
          </a:prstGeom>
        </p:spPr>
      </p:pic>
      <p:pic>
        <p:nvPicPr>
          <p:cNvPr id="36" name="Picture 35" descr="A screenshot of a graph&#10;&#10;Description automatically generated">
            <a:extLst>
              <a:ext uri="{FF2B5EF4-FFF2-40B4-BE49-F238E27FC236}">
                <a16:creationId xmlns:a16="http://schemas.microsoft.com/office/drawing/2014/main" id="{91F6E3D0-2ABE-A72B-4F79-3D0DE9D3704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61" t="3478" r="3059" b="49917"/>
          <a:stretch/>
        </p:blipFill>
        <p:spPr>
          <a:xfrm>
            <a:off x="2919505" y="2232570"/>
            <a:ext cx="5404657" cy="1318442"/>
          </a:xfrm>
          <a:prstGeom prst="rect">
            <a:avLst/>
          </a:prstGeom>
        </p:spPr>
      </p:pic>
      <p:pic>
        <p:nvPicPr>
          <p:cNvPr id="37" name="Picture 36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3EEDA104-95D0-FABA-F019-122C203C6A5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3641" t="8606" r="3937" b="5402"/>
          <a:stretch/>
        </p:blipFill>
        <p:spPr>
          <a:xfrm>
            <a:off x="5558459" y="4921238"/>
            <a:ext cx="1383509" cy="1378863"/>
          </a:xfrm>
          <a:prstGeom prst="rect">
            <a:avLst/>
          </a:prstGeom>
        </p:spPr>
      </p:pic>
      <p:sp>
        <p:nvSpPr>
          <p:cNvPr id="8" name="Parallelogram 7">
            <a:extLst>
              <a:ext uri="{FF2B5EF4-FFF2-40B4-BE49-F238E27FC236}">
                <a16:creationId xmlns:a16="http://schemas.microsoft.com/office/drawing/2014/main" id="{A6903297-F953-0AE7-5E58-4B8284527B2A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B7B8FBA4-55AB-2F31-D5DF-13C6FE2699AA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4F7D6F56-ABC6-FBB9-98D0-B0E5673DEAAF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A58C802C-CBEA-7937-25E3-2332C17CB83E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0D1B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7AF42283-DF58-0330-A078-B77D08721329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09F6A536-FBEF-7030-AF18-41004F9DAF94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590FEE2-0470-2F6A-F937-30E6B56FCF79}"/>
              </a:ext>
            </a:extLst>
          </p:cNvPr>
          <p:cNvSpPr txBox="1"/>
          <p:nvPr/>
        </p:nvSpPr>
        <p:spPr>
          <a:xfrm>
            <a:off x="4468872" y="4950183"/>
            <a:ext cx="1089587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b="1" dirty="0"/>
              <a:t>x + </a:t>
            </a:r>
            <a:r>
              <a:rPr lang="en-US" sz="1000" b="1" dirty="0" err="1"/>
              <a:t>geom_col</a:t>
            </a:r>
            <a:r>
              <a:rPr lang="en-US" sz="1000" b="1" dirty="0"/>
              <a:t>()</a:t>
            </a:r>
          </a:p>
        </p:txBody>
      </p:sp>
    </p:spTree>
    <p:extLst>
      <p:ext uri="{BB962C8B-B14F-4D97-AF65-F5344CB8AC3E}">
        <p14:creationId xmlns:p14="http://schemas.microsoft.com/office/powerpoint/2010/main" val="84825359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E23F10-2ED0-2209-460A-3C5DDE5445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graph of a line&#10;&#10;Description automatically generated with medium confidence">
            <a:extLst>
              <a:ext uri="{FF2B5EF4-FFF2-40B4-BE49-F238E27FC236}">
                <a16:creationId xmlns:a16="http://schemas.microsoft.com/office/drawing/2014/main" id="{AA44DE32-F5C4-85CD-644C-F9C9D8FC60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65319"/>
            <a:ext cx="5804780" cy="2942763"/>
          </a:xfrm>
          <a:prstGeom prst="rect">
            <a:avLst/>
          </a:prstGeom>
        </p:spPr>
      </p:pic>
      <p:pic>
        <p:nvPicPr>
          <p:cNvPr id="11" name="Picture 10" descr="A screenshot of a graph&#10;&#10;Description automatically generated">
            <a:extLst>
              <a:ext uri="{FF2B5EF4-FFF2-40B4-BE49-F238E27FC236}">
                <a16:creationId xmlns:a16="http://schemas.microsoft.com/office/drawing/2014/main" id="{B09DF8D5-0E81-FA3B-83AC-FC89C0983A9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92" t="49917" r="49397"/>
          <a:stretch/>
        </p:blipFill>
        <p:spPr>
          <a:xfrm>
            <a:off x="5608532" y="879520"/>
            <a:ext cx="2817256" cy="1435686"/>
          </a:xfrm>
          <a:prstGeom prst="rect">
            <a:avLst/>
          </a:prstGeom>
        </p:spPr>
      </p:pic>
      <p:pic>
        <p:nvPicPr>
          <p:cNvPr id="19" name="Picture 18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EDB6BB6D-FFB0-B67D-084C-2F330694DB0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606" r="34937" b="5402"/>
          <a:stretch/>
        </p:blipFill>
        <p:spPr>
          <a:xfrm>
            <a:off x="5547835" y="3614885"/>
            <a:ext cx="2776327" cy="1378863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B4E96C2-3E96-258B-5B47-4DAA649DD532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6F10074-D1A9-ADFA-36D3-F3E3A0EEF1CD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Aesthetic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3F9242C-6049-E4CF-1B2E-A6E2AD955EFF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tatistic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AC21C12-5624-09BF-3C0F-741B1B1746E8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FA1DD47-F704-B828-4DAA-B0E7E71EC118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BD119585-7ADD-6E02-BE4A-045B722B1277}"/>
              </a:ext>
            </a:extLst>
          </p:cNvPr>
          <p:cNvSpPr/>
          <p:nvPr/>
        </p:nvSpPr>
        <p:spPr>
          <a:xfrm rot="1070933" flipH="1">
            <a:off x="9717198" y="5508825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75B6728-4D6A-CCB1-D95B-3023FC1DC9CB}"/>
              </a:ext>
            </a:extLst>
          </p:cNvPr>
          <p:cNvSpPr txBox="1"/>
          <p:nvPr/>
        </p:nvSpPr>
        <p:spPr>
          <a:xfrm>
            <a:off x="8106042" y="564845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F522597-0149-E7A2-0005-F92E57DA03AC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pic>
        <p:nvPicPr>
          <p:cNvPr id="35" name="Picture 34" descr="A group of graphs on a white background&#10;&#10;Description automatically generated">
            <a:extLst>
              <a:ext uri="{FF2B5EF4-FFF2-40B4-BE49-F238E27FC236}">
                <a16:creationId xmlns:a16="http://schemas.microsoft.com/office/drawing/2014/main" id="{9506BEDC-8E63-052F-B312-68B1880F046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305"/>
          <a:stretch/>
        </p:blipFill>
        <p:spPr>
          <a:xfrm>
            <a:off x="34232" y="3474671"/>
            <a:ext cx="5574300" cy="2885812"/>
          </a:xfrm>
          <a:prstGeom prst="rect">
            <a:avLst/>
          </a:prstGeom>
        </p:spPr>
      </p:pic>
      <p:pic>
        <p:nvPicPr>
          <p:cNvPr id="36" name="Picture 35" descr="A screenshot of a graph&#10;&#10;Description automatically generated">
            <a:extLst>
              <a:ext uri="{FF2B5EF4-FFF2-40B4-BE49-F238E27FC236}">
                <a16:creationId xmlns:a16="http://schemas.microsoft.com/office/drawing/2014/main" id="{6AA246C1-9DE9-0903-B445-5210BE9EFAF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61" t="3478" r="3059" b="49917"/>
          <a:stretch/>
        </p:blipFill>
        <p:spPr>
          <a:xfrm>
            <a:off x="2919505" y="2232570"/>
            <a:ext cx="5404657" cy="1318442"/>
          </a:xfrm>
          <a:prstGeom prst="rect">
            <a:avLst/>
          </a:prstGeom>
        </p:spPr>
      </p:pic>
      <p:pic>
        <p:nvPicPr>
          <p:cNvPr id="37" name="Picture 36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5EF773DE-2A35-3A58-1466-92BE9F3828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3641" t="8606" r="3937" b="5402"/>
          <a:stretch/>
        </p:blipFill>
        <p:spPr>
          <a:xfrm>
            <a:off x="5558459" y="4921238"/>
            <a:ext cx="1383509" cy="1378863"/>
          </a:xfrm>
          <a:prstGeom prst="rect">
            <a:avLst/>
          </a:prstGeom>
        </p:spPr>
      </p:pic>
      <p:sp>
        <p:nvSpPr>
          <p:cNvPr id="8" name="Parallelogram 7">
            <a:extLst>
              <a:ext uri="{FF2B5EF4-FFF2-40B4-BE49-F238E27FC236}">
                <a16:creationId xmlns:a16="http://schemas.microsoft.com/office/drawing/2014/main" id="{33CC724F-6333-6FA5-E5D1-0549BF6DA4ED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3F1F17D1-EA92-1F77-7C6A-713A11083625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B379355C-9001-CF96-4C6F-5C4C4606125C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A825E68E-38DE-B68F-4CA9-D7DCBE688B41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0D1B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9912D548-B592-CBD0-6950-F528288A8A5F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B2B288BE-6DA2-41F8-A6D8-AE4255D0BC22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1D93701-EFB4-940E-27F4-491ED10DD4D0}"/>
              </a:ext>
            </a:extLst>
          </p:cNvPr>
          <p:cNvSpPr txBox="1"/>
          <p:nvPr/>
        </p:nvSpPr>
        <p:spPr>
          <a:xfrm>
            <a:off x="4468872" y="4950183"/>
            <a:ext cx="1089587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b="1" dirty="0"/>
              <a:t>x + </a:t>
            </a:r>
            <a:r>
              <a:rPr lang="en-US" sz="1000" b="1" dirty="0" err="1"/>
              <a:t>geom_col</a:t>
            </a:r>
            <a:r>
              <a:rPr lang="en-US" sz="1000" b="1" dirty="0"/>
              <a:t>()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534C990-BDBB-A35A-1A4A-D5D6568BEFE6}"/>
              </a:ext>
            </a:extLst>
          </p:cNvPr>
          <p:cNvSpPr/>
          <p:nvPr/>
        </p:nvSpPr>
        <p:spPr>
          <a:xfrm>
            <a:off x="4180827" y="4867547"/>
            <a:ext cx="1525829" cy="1368278"/>
          </a:xfrm>
          <a:prstGeom prst="ellipse">
            <a:avLst/>
          </a:prstGeom>
          <a:noFill/>
          <a:ln w="57150"/>
          <a:effectLst>
            <a:glow>
              <a:schemeClr val="bg1">
                <a:alpha val="40000"/>
              </a:schemeClr>
            </a:glo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42572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D12C4D-1924-F915-3FCF-6291A79E5B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8D7EF5E-5706-EA03-274D-5B9CF90C8772}"/>
              </a:ext>
            </a:extLst>
          </p:cNvPr>
          <p:cNvSpPr txBox="1"/>
          <p:nvPr/>
        </p:nvSpPr>
        <p:spPr>
          <a:xfrm>
            <a:off x="573799" y="341224"/>
            <a:ext cx="113233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Task: </a:t>
            </a:r>
            <a:r>
              <a:rPr lang="en-US" sz="2400" dirty="0"/>
              <a:t>For the year </a:t>
            </a:r>
            <a:r>
              <a:rPr lang="en-US" sz="2400" b="1" dirty="0"/>
              <a:t>2019</a:t>
            </a:r>
            <a:r>
              <a:rPr lang="en-US" sz="2400" dirty="0"/>
              <a:t>, count the </a:t>
            </a:r>
            <a:r>
              <a:rPr lang="en-US" sz="2400" b="1" dirty="0"/>
              <a:t>number of observations per continent </a:t>
            </a:r>
            <a:r>
              <a:rPr lang="en-US" sz="2400" dirty="0"/>
              <a:t>in our dataset. </a:t>
            </a:r>
          </a:p>
          <a:p>
            <a:r>
              <a:rPr lang="en-US" sz="2400" dirty="0"/>
              <a:t>Then plot this as a bar chart. </a:t>
            </a:r>
          </a:p>
        </p:txBody>
      </p:sp>
    </p:spTree>
    <p:extLst>
      <p:ext uri="{BB962C8B-B14F-4D97-AF65-F5344CB8AC3E}">
        <p14:creationId xmlns:p14="http://schemas.microsoft.com/office/powerpoint/2010/main" val="340370822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946DEC-C2CA-64CB-71E6-739FDAF05D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A45541D-257D-4805-5928-71A041203262}"/>
              </a:ext>
            </a:extLst>
          </p:cNvPr>
          <p:cNvSpPr/>
          <p:nvPr/>
        </p:nvSpPr>
        <p:spPr>
          <a:xfrm>
            <a:off x="449705" y="1657966"/>
            <a:ext cx="5471410" cy="4121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3AAB388-F65D-D30A-057C-3BAE6316566C}"/>
              </a:ext>
            </a:extLst>
          </p:cNvPr>
          <p:cNvSpPr txBox="1"/>
          <p:nvPr/>
        </p:nvSpPr>
        <p:spPr>
          <a:xfrm>
            <a:off x="588789" y="1784481"/>
            <a:ext cx="3759120" cy="4589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</a:t>
            </a:r>
            <a:endParaRPr lang="en-US" dirty="0">
              <a:latin typeface="Andale Mono" panose="020B0509000000000004" pitchFamily="49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E7D10AC-78C5-9E97-28EC-B6A72A5F20C8}"/>
              </a:ext>
            </a:extLst>
          </p:cNvPr>
          <p:cNvSpPr txBox="1"/>
          <p:nvPr/>
        </p:nvSpPr>
        <p:spPr>
          <a:xfrm>
            <a:off x="573799" y="341224"/>
            <a:ext cx="113233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Task: </a:t>
            </a:r>
            <a:r>
              <a:rPr lang="en-US" sz="2400" dirty="0"/>
              <a:t>For the year </a:t>
            </a:r>
            <a:r>
              <a:rPr lang="en-US" sz="2400" b="1" dirty="0"/>
              <a:t>2019</a:t>
            </a:r>
            <a:r>
              <a:rPr lang="en-US" sz="2400" dirty="0"/>
              <a:t>, count the </a:t>
            </a:r>
            <a:r>
              <a:rPr lang="en-US" sz="2400" b="1" dirty="0"/>
              <a:t>number of observations per continent </a:t>
            </a:r>
            <a:r>
              <a:rPr lang="en-US" sz="2400" dirty="0"/>
              <a:t>in our dataset. </a:t>
            </a:r>
          </a:p>
          <a:p>
            <a:r>
              <a:rPr lang="en-US" sz="2400" dirty="0"/>
              <a:t>Then plot this as a bar chart. </a:t>
            </a:r>
          </a:p>
        </p:txBody>
      </p:sp>
      <p:pic>
        <p:nvPicPr>
          <p:cNvPr id="4" name="Picture 3" descr="A screenshot of a graph&#10;&#10;AI-generated content may be incorrect.">
            <a:extLst>
              <a:ext uri="{FF2B5EF4-FFF2-40B4-BE49-F238E27FC236}">
                <a16:creationId xmlns:a16="http://schemas.microsoft.com/office/drawing/2014/main" id="{468B7F13-AB5F-3BB4-33D8-AD7228459FB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62008" b="12482"/>
          <a:stretch>
            <a:fillRect/>
          </a:stretch>
        </p:blipFill>
        <p:spPr>
          <a:xfrm>
            <a:off x="6270885" y="2004263"/>
            <a:ext cx="2493055" cy="3208030"/>
          </a:xfrm>
          <a:prstGeom prst="rect">
            <a:avLst/>
          </a:prstGeom>
        </p:spPr>
      </p:pic>
      <p:pic>
        <p:nvPicPr>
          <p:cNvPr id="7" name="Picture 6" descr="A screenshot of a graph&#10;&#10;AI-generated content may be incorrect.">
            <a:extLst>
              <a:ext uri="{FF2B5EF4-FFF2-40B4-BE49-F238E27FC236}">
                <a16:creationId xmlns:a16="http://schemas.microsoft.com/office/drawing/2014/main" id="{878488CA-F10F-393F-A48C-C6D5504A4A0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6990" b="12002"/>
          <a:stretch>
            <a:fillRect/>
          </a:stretch>
        </p:blipFill>
        <p:spPr>
          <a:xfrm>
            <a:off x="8349518" y="2004263"/>
            <a:ext cx="3478543" cy="3225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62097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DF10BE-241C-81DC-7809-A1B4A2CF8E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4CCFA11-4E27-C123-ABAC-DF90EBB5620F}"/>
              </a:ext>
            </a:extLst>
          </p:cNvPr>
          <p:cNvSpPr/>
          <p:nvPr/>
        </p:nvSpPr>
        <p:spPr>
          <a:xfrm>
            <a:off x="449705" y="1657966"/>
            <a:ext cx="5471410" cy="4121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4CC9850-24DD-1269-7209-808DDDAC9797}"/>
              </a:ext>
            </a:extLst>
          </p:cNvPr>
          <p:cNvSpPr txBox="1"/>
          <p:nvPr/>
        </p:nvSpPr>
        <p:spPr>
          <a:xfrm>
            <a:off x="588789" y="1784481"/>
            <a:ext cx="3759120" cy="8744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</a:t>
            </a:r>
            <a:endParaRPr lang="en-US" dirty="0">
              <a:latin typeface="Andale Mono" panose="020B0509000000000004" pitchFamily="49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25DE758-6DFD-CD9E-0CD6-091751304E15}"/>
              </a:ext>
            </a:extLst>
          </p:cNvPr>
          <p:cNvSpPr txBox="1"/>
          <p:nvPr/>
        </p:nvSpPr>
        <p:spPr>
          <a:xfrm>
            <a:off x="573799" y="341224"/>
            <a:ext cx="113233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Task: </a:t>
            </a:r>
            <a:r>
              <a:rPr lang="en-US" sz="2400" dirty="0"/>
              <a:t>For the year </a:t>
            </a:r>
            <a:r>
              <a:rPr lang="en-US" sz="2400" b="1" dirty="0"/>
              <a:t>2019</a:t>
            </a:r>
            <a:r>
              <a:rPr lang="en-US" sz="2400" dirty="0"/>
              <a:t>, count the </a:t>
            </a:r>
            <a:r>
              <a:rPr lang="en-US" sz="2400" b="1" dirty="0"/>
              <a:t>number of observations per continent </a:t>
            </a:r>
            <a:r>
              <a:rPr lang="en-US" sz="2400" dirty="0"/>
              <a:t>in our dataset. </a:t>
            </a:r>
          </a:p>
          <a:p>
            <a:r>
              <a:rPr lang="en-US" sz="2400" dirty="0"/>
              <a:t>Then plot this as a bar chart. </a:t>
            </a:r>
          </a:p>
        </p:txBody>
      </p:sp>
      <p:pic>
        <p:nvPicPr>
          <p:cNvPr id="3" name="Picture 2" descr="A screenshot of a graph&#10;&#10;AI-generated content may be incorrect.">
            <a:extLst>
              <a:ext uri="{FF2B5EF4-FFF2-40B4-BE49-F238E27FC236}">
                <a16:creationId xmlns:a16="http://schemas.microsoft.com/office/drawing/2014/main" id="{D6978F90-662F-0F5B-5896-7CF9C18820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62008" b="12482"/>
          <a:stretch>
            <a:fillRect/>
          </a:stretch>
        </p:blipFill>
        <p:spPr>
          <a:xfrm>
            <a:off x="6270885" y="2004263"/>
            <a:ext cx="2493055" cy="3208030"/>
          </a:xfrm>
          <a:prstGeom prst="rect">
            <a:avLst/>
          </a:prstGeom>
        </p:spPr>
      </p:pic>
      <p:pic>
        <p:nvPicPr>
          <p:cNvPr id="4" name="Picture 3" descr="A screenshot of a graph&#10;&#10;AI-generated content may be incorrect.">
            <a:extLst>
              <a:ext uri="{FF2B5EF4-FFF2-40B4-BE49-F238E27FC236}">
                <a16:creationId xmlns:a16="http://schemas.microsoft.com/office/drawing/2014/main" id="{4E4FBEA2-0900-92A8-6C86-C58FE822737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6990" b="12002"/>
          <a:stretch>
            <a:fillRect/>
          </a:stretch>
        </p:blipFill>
        <p:spPr>
          <a:xfrm>
            <a:off x="8349518" y="2004263"/>
            <a:ext cx="3478543" cy="3225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23522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E0B825-E74D-6C2F-401D-032B44BEA4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9C18BF-88A3-59E7-777F-D6C0B39ECF6A}"/>
              </a:ext>
            </a:extLst>
          </p:cNvPr>
          <p:cNvSpPr/>
          <p:nvPr/>
        </p:nvSpPr>
        <p:spPr>
          <a:xfrm>
            <a:off x="449705" y="1657966"/>
            <a:ext cx="5471410" cy="4121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8C0FB55-D6B3-16D1-D1D9-C3413EC7562C}"/>
              </a:ext>
            </a:extLst>
          </p:cNvPr>
          <p:cNvSpPr txBox="1"/>
          <p:nvPr/>
        </p:nvSpPr>
        <p:spPr>
          <a:xfrm>
            <a:off x="588789" y="1784481"/>
            <a:ext cx="3759120" cy="8744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</a:t>
            </a:r>
            <a:endParaRPr lang="en-US" dirty="0">
              <a:latin typeface="Andale Mono" panose="020B0509000000000004" pitchFamily="49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D829F5C-0B81-69C0-EBB8-39F94C044980}"/>
              </a:ext>
            </a:extLst>
          </p:cNvPr>
          <p:cNvSpPr txBox="1"/>
          <p:nvPr/>
        </p:nvSpPr>
        <p:spPr>
          <a:xfrm>
            <a:off x="573799" y="341224"/>
            <a:ext cx="113233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Task: </a:t>
            </a:r>
            <a:r>
              <a:rPr lang="en-US" sz="2400" dirty="0"/>
              <a:t>For the year </a:t>
            </a:r>
            <a:r>
              <a:rPr lang="en-US" sz="2400" b="1" dirty="0"/>
              <a:t>2019</a:t>
            </a:r>
            <a:r>
              <a:rPr lang="en-US" sz="2400" dirty="0"/>
              <a:t>, count the </a:t>
            </a:r>
            <a:r>
              <a:rPr lang="en-US" sz="2400" b="1" dirty="0"/>
              <a:t>number of observations per continent </a:t>
            </a:r>
            <a:r>
              <a:rPr lang="en-US" sz="2400" dirty="0"/>
              <a:t>in our dataset. </a:t>
            </a:r>
          </a:p>
          <a:p>
            <a:r>
              <a:rPr lang="en-US" sz="2400" dirty="0"/>
              <a:t>Then plot this as a bar chart. </a:t>
            </a:r>
          </a:p>
        </p:txBody>
      </p:sp>
      <p:pic>
        <p:nvPicPr>
          <p:cNvPr id="7" name="Picture 6" descr="A screenshot of a graph&#10;&#10;AI-generated content may be incorrect.">
            <a:extLst>
              <a:ext uri="{FF2B5EF4-FFF2-40B4-BE49-F238E27FC236}">
                <a16:creationId xmlns:a16="http://schemas.microsoft.com/office/drawing/2014/main" id="{DECBD324-C518-48D6-B5BC-16AD23FD89E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6562"/>
          <a:stretch>
            <a:fillRect/>
          </a:stretch>
        </p:blipFill>
        <p:spPr>
          <a:xfrm>
            <a:off x="8259579" y="2202834"/>
            <a:ext cx="3637613" cy="2997200"/>
          </a:xfrm>
          <a:prstGeom prst="rect">
            <a:avLst/>
          </a:prstGeom>
        </p:spPr>
      </p:pic>
      <p:pic>
        <p:nvPicPr>
          <p:cNvPr id="8" name="Picture 7" descr="A screenshot of a graph&#10;&#10;AI-generated content may be incorrect.">
            <a:extLst>
              <a:ext uri="{FF2B5EF4-FFF2-40B4-BE49-F238E27FC236}">
                <a16:creationId xmlns:a16="http://schemas.microsoft.com/office/drawing/2014/main" id="{FF98BA1B-E3B0-4811-999B-636EC4568AF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2049" r="68320"/>
          <a:stretch>
            <a:fillRect/>
          </a:stretch>
        </p:blipFill>
        <p:spPr>
          <a:xfrm>
            <a:off x="6096000" y="2202834"/>
            <a:ext cx="2295992" cy="299720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77228426-E1C9-34B6-13E5-581309F87F4F}"/>
              </a:ext>
            </a:extLst>
          </p:cNvPr>
          <p:cNvGrpSpPr/>
          <p:nvPr/>
        </p:nvGrpSpPr>
        <p:grpSpPr>
          <a:xfrm>
            <a:off x="4886793" y="1724521"/>
            <a:ext cx="929391" cy="733866"/>
            <a:chOff x="4886793" y="1724521"/>
            <a:chExt cx="929391" cy="733866"/>
          </a:xfrm>
        </p:grpSpPr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73F5B5C3-B92A-3FB7-6112-03ED3B332A0E}"/>
                </a:ext>
              </a:extLst>
            </p:cNvPr>
            <p:cNvSpPr/>
            <p:nvPr/>
          </p:nvSpPr>
          <p:spPr>
            <a:xfrm>
              <a:off x="4886793" y="1724521"/>
              <a:ext cx="929391" cy="733866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riangle 9">
              <a:extLst>
                <a:ext uri="{FF2B5EF4-FFF2-40B4-BE49-F238E27FC236}">
                  <a16:creationId xmlns:a16="http://schemas.microsoft.com/office/drawing/2014/main" id="{E8C843D2-34F3-3167-FB28-82D363C5CE3B}"/>
                </a:ext>
              </a:extLst>
            </p:cNvPr>
            <p:cNvSpPr/>
            <p:nvPr/>
          </p:nvSpPr>
          <p:spPr>
            <a:xfrm rot="5400000">
              <a:off x="5181804" y="1928444"/>
              <a:ext cx="418354" cy="326020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911668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0F0F7216-9F54-1936-C6C6-6B87259F75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361"/>
          <a:stretch/>
        </p:blipFill>
        <p:spPr bwMode="auto">
          <a:xfrm>
            <a:off x="1" y="423748"/>
            <a:ext cx="5907314" cy="5294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Image">
            <a:extLst>
              <a:ext uri="{FF2B5EF4-FFF2-40B4-BE49-F238E27FC236}">
                <a16:creationId xmlns:a16="http://schemas.microsoft.com/office/drawing/2014/main" id="{137E1BB5-ADB0-B489-ED47-D874469575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777" b="5270"/>
          <a:stretch/>
        </p:blipFill>
        <p:spPr bwMode="auto">
          <a:xfrm>
            <a:off x="5907315" y="886993"/>
            <a:ext cx="6095999" cy="3597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Image">
            <a:extLst>
              <a:ext uri="{FF2B5EF4-FFF2-40B4-BE49-F238E27FC236}">
                <a16:creationId xmlns:a16="http://schemas.microsoft.com/office/drawing/2014/main" id="{FF5432DB-0D04-C120-171C-260AE3F1B1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467"/>
          <a:stretch/>
        </p:blipFill>
        <p:spPr bwMode="auto">
          <a:xfrm>
            <a:off x="5690735" y="6314879"/>
            <a:ext cx="6312579" cy="54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516175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77AF5B-B5A1-E52D-3D98-54A763F0A6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2C382B0-CD9D-368A-FF33-990DF4B61A05}"/>
              </a:ext>
            </a:extLst>
          </p:cNvPr>
          <p:cNvSpPr/>
          <p:nvPr/>
        </p:nvSpPr>
        <p:spPr>
          <a:xfrm>
            <a:off x="449705" y="1657966"/>
            <a:ext cx="5471410" cy="4121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D0C470F-4CEF-05E6-0DBC-6068E51C8229}"/>
              </a:ext>
            </a:extLst>
          </p:cNvPr>
          <p:cNvSpPr txBox="1"/>
          <p:nvPr/>
        </p:nvSpPr>
        <p:spPr>
          <a:xfrm>
            <a:off x="588789" y="1784481"/>
            <a:ext cx="3759120" cy="12899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</a:t>
            </a:r>
            <a:endParaRPr lang="en-US" dirty="0">
              <a:latin typeface="Andale Mono" panose="020B0509000000000004" pitchFamily="49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CE361B-91FC-6CC0-C6CC-534B0C4A3DE1}"/>
              </a:ext>
            </a:extLst>
          </p:cNvPr>
          <p:cNvSpPr txBox="1"/>
          <p:nvPr/>
        </p:nvSpPr>
        <p:spPr>
          <a:xfrm>
            <a:off x="573799" y="341224"/>
            <a:ext cx="113233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Task: </a:t>
            </a:r>
            <a:r>
              <a:rPr lang="en-US" sz="2400" dirty="0"/>
              <a:t>For the year </a:t>
            </a:r>
            <a:r>
              <a:rPr lang="en-US" sz="2400" b="1" dirty="0"/>
              <a:t>2019</a:t>
            </a:r>
            <a:r>
              <a:rPr lang="en-US" sz="2400" dirty="0"/>
              <a:t>, count the </a:t>
            </a:r>
            <a:r>
              <a:rPr lang="en-US" sz="2400" b="1" dirty="0"/>
              <a:t>number of observations per continent </a:t>
            </a:r>
            <a:r>
              <a:rPr lang="en-US" sz="2400" dirty="0"/>
              <a:t>in our dataset. </a:t>
            </a:r>
          </a:p>
          <a:p>
            <a:r>
              <a:rPr lang="en-US" sz="2400" dirty="0"/>
              <a:t>Then plot this as a bar chart. </a:t>
            </a:r>
          </a:p>
        </p:txBody>
      </p:sp>
      <p:pic>
        <p:nvPicPr>
          <p:cNvPr id="7" name="Picture 6" descr="A screenshot of a graph&#10;&#10;AI-generated content may be incorrect.">
            <a:extLst>
              <a:ext uri="{FF2B5EF4-FFF2-40B4-BE49-F238E27FC236}">
                <a16:creationId xmlns:a16="http://schemas.microsoft.com/office/drawing/2014/main" id="{D5611AC2-FFDD-1C0E-A30A-3CDD83DB6BF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6562"/>
          <a:stretch>
            <a:fillRect/>
          </a:stretch>
        </p:blipFill>
        <p:spPr>
          <a:xfrm>
            <a:off x="8259579" y="2202834"/>
            <a:ext cx="3637613" cy="2997200"/>
          </a:xfrm>
          <a:prstGeom prst="rect">
            <a:avLst/>
          </a:prstGeom>
        </p:spPr>
      </p:pic>
      <p:pic>
        <p:nvPicPr>
          <p:cNvPr id="8" name="Picture 7" descr="A screenshot of a graph&#10;&#10;AI-generated content may be incorrect.">
            <a:extLst>
              <a:ext uri="{FF2B5EF4-FFF2-40B4-BE49-F238E27FC236}">
                <a16:creationId xmlns:a16="http://schemas.microsoft.com/office/drawing/2014/main" id="{E4878603-26D3-D81B-6113-51E270B9D87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2049" r="68320"/>
          <a:stretch>
            <a:fillRect/>
          </a:stretch>
        </p:blipFill>
        <p:spPr>
          <a:xfrm>
            <a:off x="6096000" y="2202834"/>
            <a:ext cx="2295992" cy="299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08987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B83F6D-9450-899D-0804-AA5E885017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C51EB6A-6C0E-5754-7622-22ED7C074A3B}"/>
              </a:ext>
            </a:extLst>
          </p:cNvPr>
          <p:cNvSpPr/>
          <p:nvPr/>
        </p:nvSpPr>
        <p:spPr>
          <a:xfrm>
            <a:off x="449705" y="1657966"/>
            <a:ext cx="5471410" cy="4121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43FD079-D467-0CA4-549D-B7126E60DC83}"/>
              </a:ext>
            </a:extLst>
          </p:cNvPr>
          <p:cNvSpPr txBox="1"/>
          <p:nvPr/>
        </p:nvSpPr>
        <p:spPr>
          <a:xfrm>
            <a:off x="588789" y="1784481"/>
            <a:ext cx="3759120" cy="2119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</a:t>
            </a: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FB7318-A315-9998-D54D-BCDCD7D588DF}"/>
              </a:ext>
            </a:extLst>
          </p:cNvPr>
          <p:cNvSpPr txBox="1"/>
          <p:nvPr/>
        </p:nvSpPr>
        <p:spPr>
          <a:xfrm>
            <a:off x="573799" y="341224"/>
            <a:ext cx="113233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Task: </a:t>
            </a:r>
            <a:r>
              <a:rPr lang="en-US" sz="2400" dirty="0"/>
              <a:t>For the year </a:t>
            </a:r>
            <a:r>
              <a:rPr lang="en-US" sz="2400" b="1" dirty="0"/>
              <a:t>2019</a:t>
            </a:r>
            <a:r>
              <a:rPr lang="en-US" sz="2400" dirty="0"/>
              <a:t>, count the </a:t>
            </a:r>
            <a:r>
              <a:rPr lang="en-US" sz="2400" b="1" dirty="0"/>
              <a:t>number of observations per continent </a:t>
            </a:r>
            <a:r>
              <a:rPr lang="en-US" sz="2400" dirty="0"/>
              <a:t>in our dataset. </a:t>
            </a:r>
          </a:p>
          <a:p>
            <a:r>
              <a:rPr lang="en-US" sz="2400" dirty="0"/>
              <a:t>Then plot this as a bar chart. </a:t>
            </a:r>
          </a:p>
        </p:txBody>
      </p:sp>
      <p:pic>
        <p:nvPicPr>
          <p:cNvPr id="7" name="Picture 6" descr="A screenshot of a graph&#10;&#10;AI-generated content may be incorrect.">
            <a:extLst>
              <a:ext uri="{FF2B5EF4-FFF2-40B4-BE49-F238E27FC236}">
                <a16:creationId xmlns:a16="http://schemas.microsoft.com/office/drawing/2014/main" id="{48DFA4C8-0148-CB7F-6F05-ADE9F5B3BB2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6562"/>
          <a:stretch>
            <a:fillRect/>
          </a:stretch>
        </p:blipFill>
        <p:spPr>
          <a:xfrm>
            <a:off x="8259579" y="2202834"/>
            <a:ext cx="3637613" cy="2997200"/>
          </a:xfrm>
          <a:prstGeom prst="rect">
            <a:avLst/>
          </a:prstGeom>
        </p:spPr>
      </p:pic>
      <p:pic>
        <p:nvPicPr>
          <p:cNvPr id="8" name="Picture 7" descr="A screenshot of a graph&#10;&#10;AI-generated content may be incorrect.">
            <a:extLst>
              <a:ext uri="{FF2B5EF4-FFF2-40B4-BE49-F238E27FC236}">
                <a16:creationId xmlns:a16="http://schemas.microsoft.com/office/drawing/2014/main" id="{E936F8DE-6DD5-FA70-D3E1-306F8226256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2049" r="68320"/>
          <a:stretch>
            <a:fillRect/>
          </a:stretch>
        </p:blipFill>
        <p:spPr>
          <a:xfrm>
            <a:off x="6096000" y="2202834"/>
            <a:ext cx="2295992" cy="299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823066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BC2182-EAE1-71EB-5EA3-8013834947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610A70D-0BBA-13D6-0E31-AE3795298593}"/>
              </a:ext>
            </a:extLst>
          </p:cNvPr>
          <p:cNvSpPr/>
          <p:nvPr/>
        </p:nvSpPr>
        <p:spPr>
          <a:xfrm>
            <a:off x="449705" y="1657966"/>
            <a:ext cx="5471410" cy="4121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C83D424-9858-A596-96CE-2EB084C7F6F3}"/>
              </a:ext>
            </a:extLst>
          </p:cNvPr>
          <p:cNvSpPr txBox="1"/>
          <p:nvPr/>
        </p:nvSpPr>
        <p:spPr>
          <a:xfrm>
            <a:off x="588789" y="1784481"/>
            <a:ext cx="3759120" cy="2119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</a:t>
            </a: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2C5B6E1-D5A7-1576-19AF-F72A0A0217FA}"/>
              </a:ext>
            </a:extLst>
          </p:cNvPr>
          <p:cNvSpPr txBox="1"/>
          <p:nvPr/>
        </p:nvSpPr>
        <p:spPr>
          <a:xfrm>
            <a:off x="573799" y="341224"/>
            <a:ext cx="113233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Task: </a:t>
            </a:r>
            <a:r>
              <a:rPr lang="en-US" sz="2400" dirty="0"/>
              <a:t>For the year </a:t>
            </a:r>
            <a:r>
              <a:rPr lang="en-US" sz="2400" b="1" dirty="0"/>
              <a:t>2019</a:t>
            </a:r>
            <a:r>
              <a:rPr lang="en-US" sz="2400" dirty="0"/>
              <a:t>, count the </a:t>
            </a:r>
            <a:r>
              <a:rPr lang="en-US" sz="2400" b="1" dirty="0"/>
              <a:t>number of observations per continent </a:t>
            </a:r>
            <a:r>
              <a:rPr lang="en-US" sz="2400" dirty="0"/>
              <a:t>in our dataset. </a:t>
            </a:r>
          </a:p>
          <a:p>
            <a:r>
              <a:rPr lang="en-US" sz="2400" dirty="0"/>
              <a:t>Then plot this as a bar chart. </a:t>
            </a:r>
          </a:p>
        </p:txBody>
      </p:sp>
      <p:pic>
        <p:nvPicPr>
          <p:cNvPr id="5" name="Picture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2142A6F-0FBE-52EE-6466-A7A66B4408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3862" y="1657966"/>
            <a:ext cx="4139575" cy="3296787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5B70804-CA95-FBD6-C946-CAA719BD0368}"/>
              </a:ext>
            </a:extLst>
          </p:cNvPr>
          <p:cNvGrpSpPr/>
          <p:nvPr/>
        </p:nvGrpSpPr>
        <p:grpSpPr>
          <a:xfrm>
            <a:off x="4886793" y="1724521"/>
            <a:ext cx="929391" cy="733866"/>
            <a:chOff x="4886793" y="1724521"/>
            <a:chExt cx="929391" cy="733866"/>
          </a:xfrm>
        </p:grpSpPr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22C56DA7-7A12-0339-B57D-1D166EC7CBC8}"/>
                </a:ext>
              </a:extLst>
            </p:cNvPr>
            <p:cNvSpPr/>
            <p:nvPr/>
          </p:nvSpPr>
          <p:spPr>
            <a:xfrm>
              <a:off x="4886793" y="1724521"/>
              <a:ext cx="929391" cy="733866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riangle 12">
              <a:extLst>
                <a:ext uri="{FF2B5EF4-FFF2-40B4-BE49-F238E27FC236}">
                  <a16:creationId xmlns:a16="http://schemas.microsoft.com/office/drawing/2014/main" id="{079080B2-D589-ADCA-89F6-58427FA30AD6}"/>
                </a:ext>
              </a:extLst>
            </p:cNvPr>
            <p:cNvSpPr/>
            <p:nvPr/>
          </p:nvSpPr>
          <p:spPr>
            <a:xfrm rot="5400000">
              <a:off x="5181804" y="1928444"/>
              <a:ext cx="418354" cy="326020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94092064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FD5069-3097-6733-4C2C-6CC525341B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DDCE36F-6D20-4C2D-A5AA-230CCA910A0E}"/>
              </a:ext>
            </a:extLst>
          </p:cNvPr>
          <p:cNvSpPr/>
          <p:nvPr/>
        </p:nvSpPr>
        <p:spPr>
          <a:xfrm>
            <a:off x="449705" y="1657966"/>
            <a:ext cx="5471410" cy="4121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EBBBCAB-809D-0C68-F73D-4142C4AFA843}"/>
              </a:ext>
            </a:extLst>
          </p:cNvPr>
          <p:cNvSpPr txBox="1"/>
          <p:nvPr/>
        </p:nvSpPr>
        <p:spPr>
          <a:xfrm>
            <a:off x="588789" y="1784481"/>
            <a:ext cx="3759120" cy="25350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 )</a:t>
            </a: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86E3DC-02C1-4798-CFDA-FDA2DA64D67B}"/>
              </a:ext>
            </a:extLst>
          </p:cNvPr>
          <p:cNvSpPr txBox="1"/>
          <p:nvPr/>
        </p:nvSpPr>
        <p:spPr>
          <a:xfrm>
            <a:off x="573799" y="341224"/>
            <a:ext cx="113233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Task: </a:t>
            </a:r>
            <a:r>
              <a:rPr lang="en-US" sz="2400" dirty="0"/>
              <a:t>For the year </a:t>
            </a:r>
            <a:r>
              <a:rPr lang="en-US" sz="2400" b="1" dirty="0"/>
              <a:t>2019</a:t>
            </a:r>
            <a:r>
              <a:rPr lang="en-US" sz="2400" dirty="0"/>
              <a:t>, count the </a:t>
            </a:r>
            <a:r>
              <a:rPr lang="en-US" sz="2400" b="1" dirty="0"/>
              <a:t>number of observations per continent </a:t>
            </a:r>
            <a:r>
              <a:rPr lang="en-US" sz="2400" dirty="0"/>
              <a:t>in our dataset. </a:t>
            </a:r>
          </a:p>
          <a:p>
            <a:r>
              <a:rPr lang="en-US" sz="2400" dirty="0"/>
              <a:t>Then plot this as a bar chart. </a:t>
            </a:r>
          </a:p>
        </p:txBody>
      </p:sp>
      <p:pic>
        <p:nvPicPr>
          <p:cNvPr id="5" name="Picture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3B15C3A0-AFA4-C553-C74D-766F43A914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3862" y="1657966"/>
            <a:ext cx="4139575" cy="3296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91347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77F3CE-D85E-F6A5-F412-E8F9C7C3AF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00EE8D-0B11-1AC1-EC03-A3FB0DCAD485}"/>
              </a:ext>
            </a:extLst>
          </p:cNvPr>
          <p:cNvSpPr/>
          <p:nvPr/>
        </p:nvSpPr>
        <p:spPr>
          <a:xfrm>
            <a:off x="449705" y="1657966"/>
            <a:ext cx="5471410" cy="4121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935C088-F056-8E97-C0EA-2DDBCD78B996}"/>
              </a:ext>
            </a:extLst>
          </p:cNvPr>
          <p:cNvSpPr txBox="1"/>
          <p:nvPr/>
        </p:nvSpPr>
        <p:spPr>
          <a:xfrm>
            <a:off x="588788" y="1784481"/>
            <a:ext cx="4702739" cy="25350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, n)</a:t>
            </a: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8FFBF0E-2259-2141-4836-585ADC1953FC}"/>
              </a:ext>
            </a:extLst>
          </p:cNvPr>
          <p:cNvSpPr txBox="1"/>
          <p:nvPr/>
        </p:nvSpPr>
        <p:spPr>
          <a:xfrm>
            <a:off x="573799" y="341224"/>
            <a:ext cx="113233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Task: </a:t>
            </a:r>
            <a:r>
              <a:rPr lang="en-US" sz="2400" dirty="0"/>
              <a:t>For the year </a:t>
            </a:r>
            <a:r>
              <a:rPr lang="en-US" sz="2400" b="1" dirty="0"/>
              <a:t>2019</a:t>
            </a:r>
            <a:r>
              <a:rPr lang="en-US" sz="2400" dirty="0"/>
              <a:t>, count the </a:t>
            </a:r>
            <a:r>
              <a:rPr lang="en-US" sz="2400" b="1" dirty="0"/>
              <a:t>number of observations per continent </a:t>
            </a:r>
            <a:r>
              <a:rPr lang="en-US" sz="2400" dirty="0"/>
              <a:t>in our dataset. </a:t>
            </a:r>
          </a:p>
          <a:p>
            <a:r>
              <a:rPr lang="en-US" sz="2400" dirty="0"/>
              <a:t>Then plot this as a bar chart. </a:t>
            </a:r>
          </a:p>
        </p:txBody>
      </p:sp>
    </p:spTree>
    <p:extLst>
      <p:ext uri="{BB962C8B-B14F-4D97-AF65-F5344CB8AC3E}">
        <p14:creationId xmlns:p14="http://schemas.microsoft.com/office/powerpoint/2010/main" val="1088729278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AE49A1-36A7-DB34-442D-7BB5024946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C656AB5-7E5A-E0DE-6AA9-EB81235A6CFE}"/>
              </a:ext>
            </a:extLst>
          </p:cNvPr>
          <p:cNvSpPr/>
          <p:nvPr/>
        </p:nvSpPr>
        <p:spPr>
          <a:xfrm>
            <a:off x="449705" y="1657966"/>
            <a:ext cx="5471410" cy="4121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FF2168-85D9-AD49-8C2D-EDBCB87F7A4B}"/>
              </a:ext>
            </a:extLst>
          </p:cNvPr>
          <p:cNvSpPr txBox="1"/>
          <p:nvPr/>
        </p:nvSpPr>
        <p:spPr>
          <a:xfrm>
            <a:off x="573799" y="341224"/>
            <a:ext cx="113233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Task: </a:t>
            </a:r>
            <a:r>
              <a:rPr lang="en-US" sz="2400" dirty="0"/>
              <a:t>For the year </a:t>
            </a:r>
            <a:r>
              <a:rPr lang="en-US" sz="2400" b="1" dirty="0"/>
              <a:t>2019</a:t>
            </a:r>
            <a:r>
              <a:rPr lang="en-US" sz="2400" dirty="0"/>
              <a:t>, count the </a:t>
            </a:r>
            <a:r>
              <a:rPr lang="en-US" sz="2400" b="1" dirty="0"/>
              <a:t>number of observations per continent </a:t>
            </a:r>
            <a:r>
              <a:rPr lang="en-US" sz="2400" dirty="0"/>
              <a:t>in our dataset. </a:t>
            </a:r>
          </a:p>
          <a:p>
            <a:r>
              <a:rPr lang="en-US" sz="2400" dirty="0"/>
              <a:t>Then plot this as a bar chart. 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2ECAD43-A3AF-BF3A-02C6-437BEA6E97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1657966"/>
            <a:ext cx="5517200" cy="45479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BC2502B-96D5-67F5-491B-D7DB5FAF7F68}"/>
              </a:ext>
            </a:extLst>
          </p:cNvPr>
          <p:cNvSpPr txBox="1"/>
          <p:nvPr/>
        </p:nvSpPr>
        <p:spPr>
          <a:xfrm>
            <a:off x="588788" y="1784481"/>
            <a:ext cx="4702739" cy="25350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, n)</a:t>
            </a: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680BA8-3167-7DA8-BFA2-8B79BB897DDF}"/>
              </a:ext>
            </a:extLst>
          </p:cNvPr>
          <p:cNvGrpSpPr/>
          <p:nvPr/>
        </p:nvGrpSpPr>
        <p:grpSpPr>
          <a:xfrm>
            <a:off x="4886793" y="1724521"/>
            <a:ext cx="929391" cy="733866"/>
            <a:chOff x="4886793" y="1724521"/>
            <a:chExt cx="929391" cy="733866"/>
          </a:xfrm>
        </p:grpSpPr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D2223627-444C-D4EF-444F-37D3063BD0D9}"/>
                </a:ext>
              </a:extLst>
            </p:cNvPr>
            <p:cNvSpPr/>
            <p:nvPr/>
          </p:nvSpPr>
          <p:spPr>
            <a:xfrm>
              <a:off x="4886793" y="1724521"/>
              <a:ext cx="929391" cy="733866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riangle 13">
              <a:extLst>
                <a:ext uri="{FF2B5EF4-FFF2-40B4-BE49-F238E27FC236}">
                  <a16:creationId xmlns:a16="http://schemas.microsoft.com/office/drawing/2014/main" id="{C765B9D8-02C5-B594-626E-9A86DFC900A9}"/>
                </a:ext>
              </a:extLst>
            </p:cNvPr>
            <p:cNvSpPr/>
            <p:nvPr/>
          </p:nvSpPr>
          <p:spPr>
            <a:xfrm rot="5400000">
              <a:off x="5181804" y="1928444"/>
              <a:ext cx="418354" cy="326020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0328515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060749-2CF9-DA44-6E3F-DB4123C5B2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94E2F8C-4E55-77F1-0223-DBBC1E87C7D2}"/>
              </a:ext>
            </a:extLst>
          </p:cNvPr>
          <p:cNvSpPr/>
          <p:nvPr/>
        </p:nvSpPr>
        <p:spPr>
          <a:xfrm>
            <a:off x="449705" y="1657966"/>
            <a:ext cx="5471410" cy="4121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2B95208-A70B-AC87-B0AB-1E9B2F719DB8}"/>
              </a:ext>
            </a:extLst>
          </p:cNvPr>
          <p:cNvSpPr txBox="1"/>
          <p:nvPr/>
        </p:nvSpPr>
        <p:spPr>
          <a:xfrm>
            <a:off x="573799" y="341224"/>
            <a:ext cx="113233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Task: </a:t>
            </a:r>
            <a:r>
              <a:rPr lang="en-US" sz="2400" dirty="0"/>
              <a:t>For the year </a:t>
            </a:r>
            <a:r>
              <a:rPr lang="en-US" sz="2400" b="1" dirty="0"/>
              <a:t>2019</a:t>
            </a:r>
            <a:r>
              <a:rPr lang="en-US" sz="2400" dirty="0"/>
              <a:t>, count the </a:t>
            </a:r>
            <a:r>
              <a:rPr lang="en-US" sz="2400" b="1" dirty="0"/>
              <a:t>number of observations per continent </a:t>
            </a:r>
            <a:r>
              <a:rPr lang="en-US" sz="2400" dirty="0"/>
              <a:t>in our dataset. </a:t>
            </a:r>
          </a:p>
          <a:p>
            <a:r>
              <a:rPr lang="en-US" sz="2400" dirty="0"/>
              <a:t>Then plot this as a bar chart. 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6D0BF40-AA27-1145-7EAF-FD66A64C07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1657966"/>
            <a:ext cx="5517200" cy="45479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453A7F5-1B9A-229B-E6E7-A09BE407BAD5}"/>
              </a:ext>
            </a:extLst>
          </p:cNvPr>
          <p:cNvSpPr txBox="1"/>
          <p:nvPr/>
        </p:nvSpPr>
        <p:spPr>
          <a:xfrm>
            <a:off x="588788" y="1784481"/>
            <a:ext cx="4702739" cy="3366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, n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col</a:t>
            </a:r>
            <a:r>
              <a:rPr lang="en-US" dirty="0">
                <a:latin typeface="Monaco" pitchFamily="2" charset="77"/>
              </a:rPr>
              <a:t>()</a:t>
            </a: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02041A00-F840-E841-F2B7-2272E756A03C}"/>
              </a:ext>
            </a:extLst>
          </p:cNvPr>
          <p:cNvSpPr/>
          <p:nvPr/>
        </p:nvSpPr>
        <p:spPr>
          <a:xfrm>
            <a:off x="4227227" y="3429000"/>
            <a:ext cx="509666" cy="543393"/>
          </a:xfrm>
          <a:prstGeom prst="ellipse">
            <a:avLst/>
          </a:prstGeom>
          <a:noFill/>
          <a:ln w="190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35696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98EA2B-05AA-1716-22C6-1268158B6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31EC5B-D176-A2F0-EA45-FBE37FF1FA3C}"/>
              </a:ext>
            </a:extLst>
          </p:cNvPr>
          <p:cNvSpPr/>
          <p:nvPr/>
        </p:nvSpPr>
        <p:spPr>
          <a:xfrm>
            <a:off x="449705" y="1657966"/>
            <a:ext cx="5471410" cy="4121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7A396C-7F2D-A8CC-3BDC-3F2CD76244B2}"/>
              </a:ext>
            </a:extLst>
          </p:cNvPr>
          <p:cNvSpPr txBox="1"/>
          <p:nvPr/>
        </p:nvSpPr>
        <p:spPr>
          <a:xfrm>
            <a:off x="573799" y="341224"/>
            <a:ext cx="113233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Task: </a:t>
            </a:r>
            <a:r>
              <a:rPr lang="en-US" sz="2400" dirty="0"/>
              <a:t>For the year </a:t>
            </a:r>
            <a:r>
              <a:rPr lang="en-US" sz="2400" b="1" dirty="0"/>
              <a:t>2019</a:t>
            </a:r>
            <a:r>
              <a:rPr lang="en-US" sz="2400" dirty="0"/>
              <a:t>, count the </a:t>
            </a:r>
            <a:r>
              <a:rPr lang="en-US" sz="2400" b="1" dirty="0"/>
              <a:t>number of observations per continent </a:t>
            </a:r>
            <a:r>
              <a:rPr lang="en-US" sz="2400" dirty="0"/>
              <a:t>in our dataset. </a:t>
            </a:r>
          </a:p>
          <a:p>
            <a:r>
              <a:rPr lang="en-US" sz="2400" dirty="0"/>
              <a:t>Then plot this as a bar chart. 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A6A53B5-7BEF-17D5-D228-1B16812DD2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1657966"/>
            <a:ext cx="5517200" cy="45479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A93E17F-35D2-7177-FF8E-7AC548C9CC15}"/>
              </a:ext>
            </a:extLst>
          </p:cNvPr>
          <p:cNvSpPr txBox="1"/>
          <p:nvPr/>
        </p:nvSpPr>
        <p:spPr>
          <a:xfrm>
            <a:off x="588788" y="1784481"/>
            <a:ext cx="4702739" cy="3366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, n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col</a:t>
            </a:r>
            <a:r>
              <a:rPr lang="en-US" dirty="0">
                <a:latin typeface="Monaco" pitchFamily="2" charset="77"/>
              </a:rPr>
              <a:t>()</a:t>
            </a: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34ACC1A-A3DE-31E5-BDDA-E40F85DCBB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1" y="1657966"/>
            <a:ext cx="5517199" cy="4547961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855DF8B-21C3-E8DE-436B-F3FAF96C2B6B}"/>
              </a:ext>
            </a:extLst>
          </p:cNvPr>
          <p:cNvGrpSpPr/>
          <p:nvPr/>
        </p:nvGrpSpPr>
        <p:grpSpPr>
          <a:xfrm>
            <a:off x="4886793" y="1724521"/>
            <a:ext cx="929391" cy="733866"/>
            <a:chOff x="4886793" y="1724521"/>
            <a:chExt cx="929391" cy="733866"/>
          </a:xfrm>
        </p:grpSpPr>
        <p:sp>
          <p:nvSpPr>
            <p:cNvPr id="4" name="Rounded Rectangle 3">
              <a:extLst>
                <a:ext uri="{FF2B5EF4-FFF2-40B4-BE49-F238E27FC236}">
                  <a16:creationId xmlns:a16="http://schemas.microsoft.com/office/drawing/2014/main" id="{D9A7EB44-6F0B-45BE-4BC9-2317963D56B1}"/>
                </a:ext>
              </a:extLst>
            </p:cNvPr>
            <p:cNvSpPr/>
            <p:nvPr/>
          </p:nvSpPr>
          <p:spPr>
            <a:xfrm>
              <a:off x="4886793" y="1724521"/>
              <a:ext cx="929391" cy="733866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Triangle 4">
              <a:extLst>
                <a:ext uri="{FF2B5EF4-FFF2-40B4-BE49-F238E27FC236}">
                  <a16:creationId xmlns:a16="http://schemas.microsoft.com/office/drawing/2014/main" id="{22F8BCD3-BB75-D617-BB21-DFBFB74890FE}"/>
                </a:ext>
              </a:extLst>
            </p:cNvPr>
            <p:cNvSpPr/>
            <p:nvPr/>
          </p:nvSpPr>
          <p:spPr>
            <a:xfrm rot="5400000">
              <a:off x="5181804" y="1928444"/>
              <a:ext cx="418354" cy="326020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7560930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7435AA8-7215-19F8-690B-413F1F147F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B91354B-536D-DD97-83A0-2C7AC64DB44F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pic>
        <p:nvPicPr>
          <p:cNvPr id="6" name="Picture 5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CD0EEAD0-3F0D-D681-AD3B-261859EC73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195" y="2480435"/>
            <a:ext cx="8772540" cy="189712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015385D-2C92-9DF7-28BA-0D67FB3A0973}"/>
              </a:ext>
            </a:extLst>
          </p:cNvPr>
          <p:cNvSpPr/>
          <p:nvPr/>
        </p:nvSpPr>
        <p:spPr>
          <a:xfrm>
            <a:off x="2632819" y="2555385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798500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D99B85-46E3-C0A1-93D6-4CB45BDCC7CD}"/>
              </a:ext>
            </a:extLst>
          </p:cNvPr>
          <p:cNvSpPr txBox="1"/>
          <p:nvPr/>
        </p:nvSpPr>
        <p:spPr>
          <a:xfrm>
            <a:off x="1145195" y="5040518"/>
            <a:ext cx="5993704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6" name="Picture 5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3929D0B4-7CA5-77B5-5CAB-7891394DE1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195" y="2480435"/>
            <a:ext cx="8772540" cy="189712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0E29EAD-7BE7-325C-A367-1D97197F5934}"/>
              </a:ext>
            </a:extLst>
          </p:cNvPr>
          <p:cNvSpPr/>
          <p:nvPr/>
        </p:nvSpPr>
        <p:spPr>
          <a:xfrm>
            <a:off x="2632819" y="2555385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1867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74400566-F925-ED3F-1BD4-50A8A4836B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088" y="947542"/>
            <a:ext cx="11745824" cy="4962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6918124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CE5D8DC-12C1-64B2-BFA0-F7FE6E8497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51CC949-4FCE-CAFE-72AD-9EA78BF0B846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44F6151-EE0F-12C5-6CDB-C56B5E387C5B}"/>
              </a:ext>
            </a:extLst>
          </p:cNvPr>
          <p:cNvSpPr txBox="1"/>
          <p:nvPr/>
        </p:nvSpPr>
        <p:spPr>
          <a:xfrm>
            <a:off x="413360" y="2758587"/>
            <a:ext cx="5993704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14CE44-C350-74BA-46E1-03E72317B4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6883" y="978077"/>
            <a:ext cx="6444893" cy="527867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CFE36FF-AFAC-F29F-6AE2-F2D907B76225}"/>
              </a:ext>
            </a:extLst>
          </p:cNvPr>
          <p:cNvSpPr/>
          <p:nvPr/>
        </p:nvSpPr>
        <p:spPr>
          <a:xfrm>
            <a:off x="0" y="621792"/>
            <a:ext cx="6691658" cy="621792"/>
          </a:xfrm>
          <a:prstGeom prst="rect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679509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7B8C5C-8D16-FE8A-EE1C-6B46379000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4BDED89B-3256-B6FF-6FD2-5A6B63342966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9C70DBF-BE4E-07C8-B47B-B32DB1C36448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2D9022C3-688F-809B-7E56-CDE3B193732A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E8901B67-E793-03FC-1F1D-1DF21CFBCBC8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30B8FDA-1453-1FD1-4A19-F5786A369C3C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2530B58-E16A-52E8-9128-426559E74261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93AE391-593E-FD10-3FFE-32768F1373E2}"/>
              </a:ext>
            </a:extLst>
          </p:cNvPr>
          <p:cNvSpPr txBox="1"/>
          <p:nvPr/>
        </p:nvSpPr>
        <p:spPr>
          <a:xfrm>
            <a:off x="4259392" y="2534189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9AFA8AF6-B3EC-9486-F6F0-36EAE8F91668}"/>
              </a:ext>
            </a:extLst>
          </p:cNvPr>
          <p:cNvSpPr/>
          <p:nvPr/>
        </p:nvSpPr>
        <p:spPr>
          <a:xfrm>
            <a:off x="1568139" y="3067484"/>
            <a:ext cx="3123782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statistics fun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70B644-BADC-3FCB-11EC-9457EE9E81A8}"/>
              </a:ext>
            </a:extLst>
          </p:cNvPr>
          <p:cNvSpPr txBox="1"/>
          <p:nvPr/>
        </p:nvSpPr>
        <p:spPr>
          <a:xfrm>
            <a:off x="4562748" y="298567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C9F7E886-3939-2A37-C28A-AE623DDA4257}"/>
              </a:ext>
            </a:extLst>
          </p:cNvPr>
          <p:cNvSpPr/>
          <p:nvPr/>
        </p:nvSpPr>
        <p:spPr>
          <a:xfrm>
            <a:off x="1568138" y="3552536"/>
            <a:ext cx="2549267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scales fun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80C662-238B-9043-EFDA-D8A9D0ED4D82}"/>
              </a:ext>
            </a:extLst>
          </p:cNvPr>
          <p:cNvSpPr txBox="1"/>
          <p:nvPr/>
        </p:nvSpPr>
        <p:spPr>
          <a:xfrm>
            <a:off x="3983049" y="348864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D2943967-0A02-2283-C487-63AA194DF909}"/>
              </a:ext>
            </a:extLst>
          </p:cNvPr>
          <p:cNvSpPr/>
          <p:nvPr/>
        </p:nvSpPr>
        <p:spPr>
          <a:xfrm>
            <a:off x="1568139" y="4032921"/>
            <a:ext cx="2549268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themes function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A7FD9D6B-406B-7FFE-5D95-085A210E548C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75000"/>
              <a:alpha val="89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3FE4808A-DCAA-E284-941F-D734176EE0AA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75000"/>
              <a:alpha val="89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Parallelogram 27">
            <a:extLst>
              <a:ext uri="{FF2B5EF4-FFF2-40B4-BE49-F238E27FC236}">
                <a16:creationId xmlns:a16="http://schemas.microsoft.com/office/drawing/2014/main" id="{4CEFC3CF-6698-E733-A832-5BC9AD6D86CB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75000"/>
              <a:alpha val="89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Parallelogram 28">
            <a:extLst>
              <a:ext uri="{FF2B5EF4-FFF2-40B4-BE49-F238E27FC236}">
                <a16:creationId xmlns:a16="http://schemas.microsoft.com/office/drawing/2014/main" id="{22373607-F5A3-7E66-8150-8C3B702C76E2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0D1B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arallelogram 29">
            <a:extLst>
              <a:ext uri="{FF2B5EF4-FFF2-40B4-BE49-F238E27FC236}">
                <a16:creationId xmlns:a16="http://schemas.microsoft.com/office/drawing/2014/main" id="{8B0E3993-D850-5F85-0F7D-1AB3E00E263F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E2C2A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arallelogram 30">
            <a:extLst>
              <a:ext uri="{FF2B5EF4-FFF2-40B4-BE49-F238E27FC236}">
                <a16:creationId xmlns:a16="http://schemas.microsoft.com/office/drawing/2014/main" id="{64C75014-6BB6-8009-B979-FD6ED4C2F746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92A7D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10EB99-4F88-CB41-F1F5-003C64CFE8B7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072481-1B41-C302-4FC0-DA4139E8B639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esthetic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738234-C3BB-9ECA-FA7F-68B76CE01E8C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Geometri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898E19-D227-81D8-5AD0-609289E56251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73CFD8-45E5-534F-1B6C-CC0A18F9A757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ca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C1E7682-1A95-8DED-C06D-E195D8B4D630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55012C3-03DD-38A6-30EB-223073FDA4D5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7898520E-7CC8-117C-04B6-3FE045D3525D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81538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771E74-B32A-F32C-82AB-E96342D906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8C8D6EB2-8CED-B892-FBE2-CCB24F4BA430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25A7328-390E-187D-084C-8B0AFF576387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DEC36EB-00B2-CA59-964D-73EDF89E226E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1F6BD6-E5C5-6316-4307-F7C6507DF97F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55D9DB-3FFB-A794-C9F1-B51F8F038E5A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AEE151B-55CF-C337-6F7B-C313F1DD22A9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0AAC1658-E83C-42F3-F314-C82A90408EC3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B2B678-7777-0D95-236A-5E4D90F0CA48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7568BE-D73F-BE5D-00DE-3184699131A0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285BAD-FB58-8423-F013-79E1EF22864C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>
                    <a:alpha val="25172"/>
                  </a:srgbClr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>
                    <a:alpha val="25172"/>
                  </a:srgbClr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>
                    <a:alpha val="25172"/>
                  </a:srgbClr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>
              <a:solidFill>
                <a:schemeClr val="tx1">
                  <a:alpha val="25172"/>
                </a:schemeClr>
              </a:solidFill>
            </a:endParaRPr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6359A8E4-0CBB-5976-DB3D-E51602825A80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30CB9696-942A-A86F-4410-9DA69E88AFCE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D989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69A0918B-F129-7BE1-D207-18B98F783048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7EF43C7A-3C9D-6A7E-2A92-48E83484535A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arallelogram 21">
            <a:extLst>
              <a:ext uri="{FF2B5EF4-FFF2-40B4-BE49-F238E27FC236}">
                <a16:creationId xmlns:a16="http://schemas.microsoft.com/office/drawing/2014/main" id="{0FE715DE-7D80-E27F-0430-2B5C40CB8BA2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A25378A8-3568-50C5-3218-EA68EF6187F0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882339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454DBD-C0A7-A7C6-4619-ACFA9A3A01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2BA3D3A2-95EB-EF5B-C14A-082264AC9841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84C4A6-5774-6BB1-F975-E6FA4611845A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A81A7E6-9475-0370-CAC1-74C9550F7E40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33B478-C366-0B58-68ED-793672B2F056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6AFAC4E-2725-CC20-9D56-F4F4ADE1903F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86C7966-4E64-5C45-6D2B-E072E175247A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60F79A07-4711-F4CA-6716-349B3749EF62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3883E8-A7C4-EFAF-D53F-D81FC2AB6C01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1722A4-02C4-3C9E-E783-9DCBAA41144F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A6C87C1-5BA0-6540-7C7E-B1ECA4195BD8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/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>
                    <a:alpha val="29225"/>
                  </a:srgbClr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>
                    <a:alpha val="29225"/>
                  </a:srgbClr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>
              <a:solidFill>
                <a:schemeClr val="tx1">
                  <a:alpha val="29225"/>
                </a:schemeClr>
              </a:solidFill>
            </a:endParaRPr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53441854-C8E6-E830-E0A3-C1141D3B151C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4A76B234-4F85-D44E-0BE6-14A15ED9B938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D989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D5AA9E50-7728-2D47-76F8-52E6B8BB5B0A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717CC4D1-D53A-FA69-E965-7E04A14AA9B8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arallelogram 21">
            <a:extLst>
              <a:ext uri="{FF2B5EF4-FFF2-40B4-BE49-F238E27FC236}">
                <a16:creationId xmlns:a16="http://schemas.microsoft.com/office/drawing/2014/main" id="{0A734BFE-1AA2-A184-E5A7-2A1897E056DF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DF32A551-3467-FDEA-4CC0-288E079D442F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007861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15186F-1DE3-DE6C-2274-A772094D3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AD954D2C-656A-77FF-81A6-F58D1D117823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949A8F-EC46-8ED7-E0B3-B03B20DF00E8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EDD186-255C-B6EF-5A2F-51B6DDBDF5FB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F1D762-9772-9FDD-9BD5-E1D5DF62B819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15C1F02-1B08-7A1B-E01A-3DB1BCF1C1A6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C58F0C5-E580-50EA-B683-3207272ECA9F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0EA9A341-BCCC-4256-BF80-CA273390F4B9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7B5D7E-2704-984F-35DF-694AF01FE3BF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CE9BA8-16CA-20AA-A354-6AC8AD7FBA65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113588-31B1-65E2-FFA6-DA99A5E383F4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/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/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/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552B329E-37CC-45DD-81C6-B5623237053F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FF784CA-DF30-A994-F3F7-EBDA6D196C5A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D989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F048D455-E696-0B37-8F74-AE0BA2BB5166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192CA7D7-2E6E-3BF3-7508-03DB8043CF22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arallelogram 21">
            <a:extLst>
              <a:ext uri="{FF2B5EF4-FFF2-40B4-BE49-F238E27FC236}">
                <a16:creationId xmlns:a16="http://schemas.microsoft.com/office/drawing/2014/main" id="{0BEAFA94-C2F3-A658-9892-87EEFEA18FE6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A4BB63B3-0249-095D-830C-6E20661B6A64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871845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F6F9EE-8AD0-F1E2-3CA4-8CD7470833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5F43AB7-6177-601F-9A32-E1BAC1D1199D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5304188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1C382A-2F27-7905-2AAA-831C1506C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FCBE3A-0496-C30A-0AF2-D756CB7B8586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C0AA41-AAD3-F502-A048-5FACF58BACF4}"/>
              </a:ext>
            </a:extLst>
          </p:cNvPr>
          <p:cNvSpPr txBox="1"/>
          <p:nvPr/>
        </p:nvSpPr>
        <p:spPr>
          <a:xfrm>
            <a:off x="4696691" y="2409104"/>
            <a:ext cx="31726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I’ll cover these during the live demo portion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09D02FEA-2286-8AB8-CEEB-903AA3E142AC}"/>
              </a:ext>
            </a:extLst>
          </p:cNvPr>
          <p:cNvSpPr/>
          <p:nvPr/>
        </p:nvSpPr>
        <p:spPr>
          <a:xfrm>
            <a:off x="1205345" y="2189018"/>
            <a:ext cx="3318726" cy="1468582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39423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D5303D-98CA-8DB6-35EE-D6DE5B8970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C0496A2-66B3-0C21-D9CC-57DCD67F823A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26E4613-C646-A440-106F-123677185C13}"/>
              </a:ext>
            </a:extLst>
          </p:cNvPr>
          <p:cNvSpPr txBox="1"/>
          <p:nvPr/>
        </p:nvSpPr>
        <p:spPr>
          <a:xfrm>
            <a:off x="4488872" y="3607376"/>
            <a:ext cx="31726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I want to spend some time talking about color scales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ADB5183-039B-F296-A816-1D04681181D9}"/>
              </a:ext>
            </a:extLst>
          </p:cNvPr>
          <p:cNvSpPr/>
          <p:nvPr/>
        </p:nvSpPr>
        <p:spPr>
          <a:xfrm>
            <a:off x="1108363" y="3529168"/>
            <a:ext cx="2757055" cy="987414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278759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A556ACE-1203-C9ED-4B8A-795020342F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00770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8A09B2-BFEB-05F1-0B7C-6180FFF79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3626" y="365125"/>
            <a:ext cx="7904747" cy="1325563"/>
          </a:xfrm>
        </p:spPr>
        <p:txBody>
          <a:bodyPr vert="horz"/>
          <a:lstStyle/>
          <a:p>
            <a:r>
              <a:rPr lang="en-US" dirty="0"/>
              <a:t>ggplot2 default colors for factors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D832FEB0-01EA-2004-C5F6-22A133DA16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2453" y="1690688"/>
            <a:ext cx="5709652" cy="4647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0693848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0" name="Picture 29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82272F54-3F99-637E-632F-1966D0A854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DDA8C56-97DC-3F42-75F8-09905DC3998E}"/>
              </a:ext>
            </a:extLst>
          </p:cNvPr>
          <p:cNvSpPr txBox="1"/>
          <p:nvPr/>
        </p:nvSpPr>
        <p:spPr>
          <a:xfrm>
            <a:off x="6096000" y="4957011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ivergent color scale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CDA90EA-116A-593D-756A-7124DD2B8F8A}"/>
              </a:ext>
            </a:extLst>
          </p:cNvPr>
          <p:cNvSpPr/>
          <p:nvPr/>
        </p:nvSpPr>
        <p:spPr>
          <a:xfrm>
            <a:off x="580768" y="3504981"/>
            <a:ext cx="753763" cy="296563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358C5F-0393-D9AA-A465-C00792DE1B54}"/>
              </a:ext>
            </a:extLst>
          </p:cNvPr>
          <p:cNvSpPr txBox="1"/>
          <p:nvPr/>
        </p:nvSpPr>
        <p:spPr>
          <a:xfrm>
            <a:off x="6096000" y="1900989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Monochrome sca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512C432-962D-5E75-05A8-92C960351965}"/>
              </a:ext>
            </a:extLst>
          </p:cNvPr>
          <p:cNvSpPr txBox="1"/>
          <p:nvPr/>
        </p:nvSpPr>
        <p:spPr>
          <a:xfrm>
            <a:off x="6096000" y="3785067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Qualitative scales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21439114-4EE5-ADE6-695B-02F66D0CEFEF}"/>
              </a:ext>
            </a:extLst>
          </p:cNvPr>
          <p:cNvSpPr/>
          <p:nvPr/>
        </p:nvSpPr>
        <p:spPr>
          <a:xfrm>
            <a:off x="468473" y="869435"/>
            <a:ext cx="8819906" cy="2635545"/>
          </a:xfrm>
          <a:prstGeom prst="roundRect">
            <a:avLst>
              <a:gd name="adj" fmla="val 4005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B1519762-F7FA-409F-64E3-A4EA96B96D5D}"/>
              </a:ext>
            </a:extLst>
          </p:cNvPr>
          <p:cNvSpPr/>
          <p:nvPr/>
        </p:nvSpPr>
        <p:spPr>
          <a:xfrm>
            <a:off x="468473" y="3504980"/>
            <a:ext cx="8819906" cy="1225442"/>
          </a:xfrm>
          <a:prstGeom prst="roundRect">
            <a:avLst>
              <a:gd name="adj" fmla="val 7657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AB85911B-74BB-5EED-55D8-5EB80B19B9A6}"/>
              </a:ext>
            </a:extLst>
          </p:cNvPr>
          <p:cNvSpPr/>
          <p:nvPr/>
        </p:nvSpPr>
        <p:spPr>
          <a:xfrm>
            <a:off x="468473" y="4730421"/>
            <a:ext cx="8819906" cy="1410103"/>
          </a:xfrm>
          <a:prstGeom prst="roundRect">
            <a:avLst>
              <a:gd name="adj" fmla="val 7657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9851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B0FFEDA0-AA78-42CF-B327-0DBFCCB62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0"/>
            <a:ext cx="11430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3428241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C9C210-87F3-BC97-FB7C-EF67FF389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1025C13-80F0-8F8A-5C34-B6F3DC2ACF17}"/>
              </a:ext>
            </a:extLst>
          </p:cNvPr>
          <p:cNvSpPr/>
          <p:nvPr/>
        </p:nvSpPr>
        <p:spPr>
          <a:xfrm>
            <a:off x="449705" y="1657966"/>
            <a:ext cx="5471410" cy="4121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A694C91-3E4C-266E-BD51-36609EC276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1657966"/>
            <a:ext cx="5517200" cy="45479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A7E5D1B-8337-6892-EEDD-80F061FB4314}"/>
              </a:ext>
            </a:extLst>
          </p:cNvPr>
          <p:cNvSpPr txBox="1"/>
          <p:nvPr/>
        </p:nvSpPr>
        <p:spPr>
          <a:xfrm>
            <a:off x="588788" y="1784481"/>
            <a:ext cx="4702739" cy="3366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, n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col</a:t>
            </a:r>
            <a:r>
              <a:rPr lang="en-US" dirty="0">
                <a:latin typeface="Monaco" pitchFamily="2" charset="77"/>
              </a:rPr>
              <a:t>()</a:t>
            </a: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1D250E9-0712-83A0-A9E9-73EA2E8866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1" y="1657966"/>
            <a:ext cx="5517199" cy="4547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723462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B06859-2771-0BD0-5879-D96F5C3636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C0E582B-0155-4336-3D32-5EE968CE8B33}"/>
              </a:ext>
            </a:extLst>
          </p:cNvPr>
          <p:cNvSpPr/>
          <p:nvPr/>
        </p:nvSpPr>
        <p:spPr>
          <a:xfrm>
            <a:off x="449705" y="1657966"/>
            <a:ext cx="5471410" cy="4121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1F19E2C-0501-CCCF-B928-A4828C4E4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1657966"/>
            <a:ext cx="5517200" cy="45479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9B8209B-B3F5-CA8B-2BE9-4D6949534286}"/>
              </a:ext>
            </a:extLst>
          </p:cNvPr>
          <p:cNvSpPr txBox="1"/>
          <p:nvPr/>
        </p:nvSpPr>
        <p:spPr>
          <a:xfrm>
            <a:off x="588787" y="1784481"/>
            <a:ext cx="5471409" cy="3366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, n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col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b="1" dirty="0" err="1">
                <a:latin typeface="Monaco" pitchFamily="2" charset="77"/>
              </a:rPr>
              <a:t>aes</a:t>
            </a:r>
            <a:r>
              <a:rPr lang="en-US" b="1" dirty="0">
                <a:latin typeface="Monaco" pitchFamily="2" charset="77"/>
              </a:rPr>
              <a:t>(fill=continent=="Asia")</a:t>
            </a: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E7BA2B9-EA81-6DCD-C969-957841D000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1" y="1657966"/>
            <a:ext cx="5517199" cy="4547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307813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F2D414-EE14-1007-9B9A-CFABAE7D44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C4D04F5-B4A0-AE11-DD74-3BCB0D4E2D48}"/>
              </a:ext>
            </a:extLst>
          </p:cNvPr>
          <p:cNvSpPr/>
          <p:nvPr/>
        </p:nvSpPr>
        <p:spPr>
          <a:xfrm>
            <a:off x="449705" y="1657966"/>
            <a:ext cx="5610490" cy="4121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4457EDF-7FC1-DF5A-F26D-81C7C49191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1657966"/>
            <a:ext cx="5517200" cy="45479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B9991A6-A0D0-D21F-8CFB-2BAE595A683D}"/>
              </a:ext>
            </a:extLst>
          </p:cNvPr>
          <p:cNvSpPr txBox="1"/>
          <p:nvPr/>
        </p:nvSpPr>
        <p:spPr>
          <a:xfrm>
            <a:off x="588787" y="1784481"/>
            <a:ext cx="5682100" cy="3366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, n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col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b="1" dirty="0" err="1">
                <a:latin typeface="Monaco" pitchFamily="2" charset="77"/>
              </a:rPr>
              <a:t>aes</a:t>
            </a:r>
            <a:r>
              <a:rPr lang="en-US" b="1" dirty="0">
                <a:latin typeface="Monaco" pitchFamily="2" charset="77"/>
              </a:rPr>
              <a:t>(fill=continent=="Asia"))</a:t>
            </a: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51A979E9-087D-E752-2E29-E8292E5109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1" y="1657966"/>
            <a:ext cx="5517199" cy="4547961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B21CCD6-500B-5BAA-C65D-43BA3456ECF3}"/>
              </a:ext>
            </a:extLst>
          </p:cNvPr>
          <p:cNvGrpSpPr/>
          <p:nvPr/>
        </p:nvGrpSpPr>
        <p:grpSpPr>
          <a:xfrm>
            <a:off x="4886793" y="1724521"/>
            <a:ext cx="929391" cy="733866"/>
            <a:chOff x="4886793" y="1724521"/>
            <a:chExt cx="929391" cy="733866"/>
          </a:xfrm>
        </p:grpSpPr>
        <p:sp>
          <p:nvSpPr>
            <p:cNvPr id="4" name="Rounded Rectangle 3">
              <a:extLst>
                <a:ext uri="{FF2B5EF4-FFF2-40B4-BE49-F238E27FC236}">
                  <a16:creationId xmlns:a16="http://schemas.microsoft.com/office/drawing/2014/main" id="{91CE519F-74C2-866F-C58A-FB3571261B6E}"/>
                </a:ext>
              </a:extLst>
            </p:cNvPr>
            <p:cNvSpPr/>
            <p:nvPr/>
          </p:nvSpPr>
          <p:spPr>
            <a:xfrm>
              <a:off x="4886793" y="1724521"/>
              <a:ext cx="929391" cy="733866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Triangle 4">
              <a:extLst>
                <a:ext uri="{FF2B5EF4-FFF2-40B4-BE49-F238E27FC236}">
                  <a16:creationId xmlns:a16="http://schemas.microsoft.com/office/drawing/2014/main" id="{41AEDBAD-BCE6-5B5E-D74D-46E9FA8D5B75}"/>
                </a:ext>
              </a:extLst>
            </p:cNvPr>
            <p:cNvSpPr/>
            <p:nvPr/>
          </p:nvSpPr>
          <p:spPr>
            <a:xfrm rot="5400000">
              <a:off x="5181804" y="1928444"/>
              <a:ext cx="418354" cy="326020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" name="Graphic 6">
            <a:extLst>
              <a:ext uri="{FF2B5EF4-FFF2-40B4-BE49-F238E27FC236}">
                <a16:creationId xmlns:a16="http://schemas.microsoft.com/office/drawing/2014/main" id="{607F5D53-CBC4-7F45-6650-45949B888F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60196" y="1353159"/>
            <a:ext cx="5886965" cy="485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156083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D09242-E346-14D9-B014-276BCE12A2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13CCF5C-1849-5A2D-6234-7D852B548A02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0" name="Picture 29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6ACC9A57-26B4-DFCE-43EF-4458AB1022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1A5C807-6459-C076-3022-925870C4D6BD}"/>
              </a:ext>
            </a:extLst>
          </p:cNvPr>
          <p:cNvSpPr txBox="1"/>
          <p:nvPr/>
        </p:nvSpPr>
        <p:spPr>
          <a:xfrm>
            <a:off x="6096000" y="4957011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ivergent color sca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3920B4-BFFD-432C-6929-C5340A9F948A}"/>
              </a:ext>
            </a:extLst>
          </p:cNvPr>
          <p:cNvSpPr txBox="1"/>
          <p:nvPr/>
        </p:nvSpPr>
        <p:spPr>
          <a:xfrm>
            <a:off x="6096000" y="1900989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Monochrome sca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3619244-F4D8-AE88-C02C-5710E093BAFD}"/>
              </a:ext>
            </a:extLst>
          </p:cNvPr>
          <p:cNvSpPr txBox="1"/>
          <p:nvPr/>
        </p:nvSpPr>
        <p:spPr>
          <a:xfrm>
            <a:off x="6096000" y="3785067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Qualitative scales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D8DDD6FB-63DF-A5BB-177B-FEEADFA8DE55}"/>
              </a:ext>
            </a:extLst>
          </p:cNvPr>
          <p:cNvSpPr/>
          <p:nvPr/>
        </p:nvSpPr>
        <p:spPr>
          <a:xfrm>
            <a:off x="468473" y="869435"/>
            <a:ext cx="8819906" cy="2635545"/>
          </a:xfrm>
          <a:prstGeom prst="roundRect">
            <a:avLst>
              <a:gd name="adj" fmla="val 4005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64D2A494-7E4D-DF9F-D17F-D264E891C9A3}"/>
              </a:ext>
            </a:extLst>
          </p:cNvPr>
          <p:cNvSpPr/>
          <p:nvPr/>
        </p:nvSpPr>
        <p:spPr>
          <a:xfrm>
            <a:off x="468473" y="3504980"/>
            <a:ext cx="8819906" cy="1225442"/>
          </a:xfrm>
          <a:prstGeom prst="roundRect">
            <a:avLst>
              <a:gd name="adj" fmla="val 7657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F289A0E6-73FF-11C5-6DCB-3CA9CE3A1287}"/>
              </a:ext>
            </a:extLst>
          </p:cNvPr>
          <p:cNvSpPr/>
          <p:nvPr/>
        </p:nvSpPr>
        <p:spPr>
          <a:xfrm>
            <a:off x="468473" y="4730421"/>
            <a:ext cx="8819906" cy="1410103"/>
          </a:xfrm>
          <a:prstGeom prst="roundRect">
            <a:avLst>
              <a:gd name="adj" fmla="val 7657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89A80AB3-F148-94C0-6EF9-E3653B92CBD9}"/>
              </a:ext>
            </a:extLst>
          </p:cNvPr>
          <p:cNvSpPr/>
          <p:nvPr/>
        </p:nvSpPr>
        <p:spPr>
          <a:xfrm>
            <a:off x="468473" y="4437088"/>
            <a:ext cx="4041743" cy="323312"/>
          </a:xfrm>
          <a:prstGeom prst="round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793404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0E1DA-988D-F8D6-2EF3-C452D193F7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3BFB7C5-CCAF-6A79-CA31-638C1091B229}"/>
              </a:ext>
            </a:extLst>
          </p:cNvPr>
          <p:cNvSpPr/>
          <p:nvPr/>
        </p:nvSpPr>
        <p:spPr>
          <a:xfrm>
            <a:off x="314793" y="1657966"/>
            <a:ext cx="5745402" cy="4121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C08829C-709A-F212-1DF2-86DDB6B8E924}"/>
              </a:ext>
            </a:extLst>
          </p:cNvPr>
          <p:cNvSpPr txBox="1"/>
          <p:nvPr/>
        </p:nvSpPr>
        <p:spPr>
          <a:xfrm>
            <a:off x="468866" y="1784481"/>
            <a:ext cx="5767043" cy="37815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>
                    <a:alpha val="94579"/>
                  </a:schemeClr>
                </a:solidFill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>
                    <a:alpha val="94579"/>
                  </a:schemeClr>
                </a:solidFill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>
                    <a:alpha val="94579"/>
                  </a:schemeClr>
                </a:solidFill>
                <a:latin typeface="Monaco" pitchFamily="2" charset="77"/>
              </a:rPr>
              <a:t>  </a:t>
            </a:r>
            <a:r>
              <a:rPr lang="en-US" dirty="0" err="1">
                <a:solidFill>
                  <a:schemeClr val="tx1">
                    <a:alpha val="94579"/>
                  </a:schemeClr>
                </a:solidFill>
                <a:latin typeface="Monaco" pitchFamily="2" charset="77"/>
              </a:rPr>
              <a:t>group_by</a:t>
            </a:r>
            <a:r>
              <a:rPr lang="en-US" dirty="0">
                <a:solidFill>
                  <a:schemeClr val="tx1">
                    <a:alpha val="94579"/>
                  </a:schemeClr>
                </a:solidFill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>
                    <a:alpha val="94579"/>
                  </a:schemeClr>
                </a:solidFill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>
                    <a:alpha val="94579"/>
                  </a:schemeClr>
                </a:solidFill>
                <a:latin typeface="Monaco" pitchFamily="2" charset="77"/>
              </a:rPr>
              <a:t>  </a:t>
            </a:r>
            <a:r>
              <a:rPr lang="en-US" dirty="0" err="1">
                <a:solidFill>
                  <a:schemeClr val="tx1">
                    <a:alpha val="94579"/>
                  </a:schemeClr>
                </a:solidFill>
                <a:latin typeface="Monaco" pitchFamily="2" charset="77"/>
              </a:rPr>
              <a:t>ggplot</a:t>
            </a:r>
            <a:r>
              <a:rPr lang="en-US" dirty="0">
                <a:solidFill>
                  <a:schemeClr val="tx1">
                    <a:alpha val="94579"/>
                  </a:schemeClr>
                </a:solidFill>
                <a:latin typeface="Monaco" pitchFamily="2" charset="77"/>
              </a:rPr>
              <a:t>(</a:t>
            </a:r>
            <a:r>
              <a:rPr lang="en-US" dirty="0" err="1">
                <a:solidFill>
                  <a:schemeClr val="tx1">
                    <a:alpha val="94579"/>
                  </a:schemeClr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>
                    <a:alpha val="94579"/>
                  </a:schemeClr>
                </a:solidFill>
                <a:latin typeface="Monaco" pitchFamily="2" charset="77"/>
              </a:rPr>
              <a:t>(continent, n) +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>
                    <a:alpha val="94579"/>
                  </a:schemeClr>
                </a:solidFill>
                <a:latin typeface="Monaco" pitchFamily="2" charset="77"/>
              </a:rPr>
              <a:t>  </a:t>
            </a:r>
            <a:r>
              <a:rPr lang="en-US" dirty="0" err="1">
                <a:solidFill>
                  <a:schemeClr val="tx1">
                    <a:alpha val="94579"/>
                  </a:schemeClr>
                </a:solidFill>
                <a:latin typeface="Monaco" pitchFamily="2" charset="77"/>
              </a:rPr>
              <a:t>geom_col</a:t>
            </a:r>
            <a:r>
              <a:rPr lang="en-US" dirty="0">
                <a:solidFill>
                  <a:schemeClr val="tx1">
                    <a:alpha val="94579"/>
                  </a:schemeClr>
                </a:solidFill>
                <a:latin typeface="Monaco" pitchFamily="2" charset="77"/>
              </a:rPr>
              <a:t>(</a:t>
            </a:r>
            <a:r>
              <a:rPr lang="en-US" dirty="0" err="1">
                <a:solidFill>
                  <a:schemeClr val="tx1">
                    <a:alpha val="94579"/>
                  </a:schemeClr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>
                    <a:alpha val="94579"/>
                  </a:schemeClr>
                </a:solidFill>
                <a:latin typeface="Monaco" pitchFamily="2" charset="77"/>
              </a:rPr>
              <a:t>(fill=continent=="Asia"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b="1" dirty="0" err="1">
                <a:latin typeface="Monaco" pitchFamily="2" charset="77"/>
              </a:rPr>
              <a:t>scale_fill_brewer</a:t>
            </a:r>
            <a:r>
              <a:rPr lang="en-US" b="1" dirty="0">
                <a:latin typeface="Monaco" pitchFamily="2" charset="77"/>
              </a:rPr>
              <a:t>(palette='Accent')</a:t>
            </a: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71B733BF-8F07-58F5-F6DB-BC9019CBA8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31807" y="1487139"/>
            <a:ext cx="5815354" cy="4793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949446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CD4E7D-424D-53A1-B439-148D4BC2CB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6F59368-6BCF-B7C5-321D-A97B0ADB4CE7}"/>
              </a:ext>
            </a:extLst>
          </p:cNvPr>
          <p:cNvSpPr/>
          <p:nvPr/>
        </p:nvSpPr>
        <p:spPr>
          <a:xfrm>
            <a:off x="314793" y="1657966"/>
            <a:ext cx="5745402" cy="4121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493034-31CA-F6D9-9351-988F14FF6A4A}"/>
              </a:ext>
            </a:extLst>
          </p:cNvPr>
          <p:cNvSpPr txBox="1"/>
          <p:nvPr/>
        </p:nvSpPr>
        <p:spPr>
          <a:xfrm>
            <a:off x="468866" y="1784481"/>
            <a:ext cx="5767043" cy="37815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, n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col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fill=continent=="Asia"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scale_fill_brewer</a:t>
            </a:r>
            <a:r>
              <a:rPr lang="en-US" dirty="0">
                <a:latin typeface="Monaco" pitchFamily="2" charset="77"/>
              </a:rPr>
              <a:t>(palette='Accent')</a:t>
            </a: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1B5A23D-1154-E87C-7493-D30001150A29}"/>
              </a:ext>
            </a:extLst>
          </p:cNvPr>
          <p:cNvGrpSpPr/>
          <p:nvPr/>
        </p:nvGrpSpPr>
        <p:grpSpPr>
          <a:xfrm>
            <a:off x="4886793" y="1724521"/>
            <a:ext cx="929391" cy="733866"/>
            <a:chOff x="4886793" y="1724521"/>
            <a:chExt cx="929391" cy="733866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B735416C-080B-DB4F-99CD-AF08CF49F3B1}"/>
                </a:ext>
              </a:extLst>
            </p:cNvPr>
            <p:cNvSpPr/>
            <p:nvPr/>
          </p:nvSpPr>
          <p:spPr>
            <a:xfrm>
              <a:off x="4886793" y="1724521"/>
              <a:ext cx="929391" cy="733866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riangle 11">
              <a:extLst>
                <a:ext uri="{FF2B5EF4-FFF2-40B4-BE49-F238E27FC236}">
                  <a16:creationId xmlns:a16="http://schemas.microsoft.com/office/drawing/2014/main" id="{A31818AB-AED9-69D4-BB50-39C4992CC0EB}"/>
                </a:ext>
              </a:extLst>
            </p:cNvPr>
            <p:cNvSpPr/>
            <p:nvPr/>
          </p:nvSpPr>
          <p:spPr>
            <a:xfrm rot="5400000">
              <a:off x="5181804" y="1928444"/>
              <a:ext cx="418354" cy="326020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" name="Graphic 3">
            <a:extLst>
              <a:ext uri="{FF2B5EF4-FFF2-40B4-BE49-F238E27FC236}">
                <a16:creationId xmlns:a16="http://schemas.microsoft.com/office/drawing/2014/main" id="{C97103D9-A73F-915E-5140-1A87E86D9D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20155" y="1489084"/>
            <a:ext cx="5817011" cy="4795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48394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E79284-0A37-601D-6A73-E641B89F6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screen with white text&#10;&#10;Description automatically generated">
            <a:extLst>
              <a:ext uri="{FF2B5EF4-FFF2-40B4-BE49-F238E27FC236}">
                <a16:creationId xmlns:a16="http://schemas.microsoft.com/office/drawing/2014/main" id="{B242FE50-3C38-ABF7-16DD-6586AE93F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75548" cy="171974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904EC1-D388-BAFF-D257-AB327BA9CEAB}"/>
              </a:ext>
            </a:extLst>
          </p:cNvPr>
          <p:cNvSpPr/>
          <p:nvPr/>
        </p:nvSpPr>
        <p:spPr>
          <a:xfrm>
            <a:off x="3657599" y="914401"/>
            <a:ext cx="3896139" cy="64935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C45344"/>
                </a:solidFill>
              </a:rPr>
              <a:t>http://</a:t>
            </a:r>
            <a:r>
              <a:rPr lang="en-US" sz="2400" dirty="0" err="1">
                <a:solidFill>
                  <a:srgbClr val="C45344"/>
                </a:solidFill>
              </a:rPr>
              <a:t>brand.duke.edu</a:t>
            </a:r>
            <a:r>
              <a:rPr lang="en-US" sz="2400" dirty="0">
                <a:solidFill>
                  <a:srgbClr val="C45344"/>
                </a:solidFill>
              </a:rPr>
              <a:t>/colors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43B17020-A4B0-791B-CF4B-CAC85F81C2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83" r="16879"/>
          <a:stretch/>
        </p:blipFill>
        <p:spPr>
          <a:xfrm>
            <a:off x="3975651" y="1719740"/>
            <a:ext cx="7156174" cy="5138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26972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screen with white text&#10;&#10;Description automatically generated">
            <a:extLst>
              <a:ext uri="{FF2B5EF4-FFF2-40B4-BE49-F238E27FC236}">
                <a16:creationId xmlns:a16="http://schemas.microsoft.com/office/drawing/2014/main" id="{4A9268DB-AF1E-575F-51FC-9FF8E67C04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75548" cy="171974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BB8C26B2-8BAC-F2CA-F1ED-660F28ACB029}"/>
              </a:ext>
            </a:extLst>
          </p:cNvPr>
          <p:cNvSpPr/>
          <p:nvPr/>
        </p:nvSpPr>
        <p:spPr>
          <a:xfrm>
            <a:off x="3657599" y="914401"/>
            <a:ext cx="3896139" cy="64935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C45344"/>
                </a:solidFill>
              </a:rPr>
              <a:t>http://</a:t>
            </a:r>
            <a:r>
              <a:rPr lang="en-US" sz="2400" dirty="0" err="1">
                <a:solidFill>
                  <a:srgbClr val="C45344"/>
                </a:solidFill>
              </a:rPr>
              <a:t>brand.duke.edu</a:t>
            </a:r>
            <a:r>
              <a:rPr lang="en-US" sz="2400" dirty="0">
                <a:solidFill>
                  <a:srgbClr val="C45344"/>
                </a:solidFill>
              </a:rPr>
              <a:t>/colors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125F49C6-3F69-C6BC-631D-29DAA2C5B3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83" r="16879"/>
          <a:stretch/>
        </p:blipFill>
        <p:spPr>
          <a:xfrm>
            <a:off x="3975651" y="1719740"/>
            <a:ext cx="7156174" cy="5138260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38CEC680-516A-592B-5C48-A7747F62EFB5}"/>
              </a:ext>
            </a:extLst>
          </p:cNvPr>
          <p:cNvSpPr/>
          <p:nvPr/>
        </p:nvSpPr>
        <p:spPr>
          <a:xfrm>
            <a:off x="7295611" y="2835305"/>
            <a:ext cx="854476" cy="448192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8A9EFB89-E7A7-FF7E-061A-7FFD29C8FC24}"/>
              </a:ext>
            </a:extLst>
          </p:cNvPr>
          <p:cNvSpPr/>
          <p:nvPr/>
        </p:nvSpPr>
        <p:spPr>
          <a:xfrm>
            <a:off x="0" y="2340864"/>
            <a:ext cx="4313873" cy="1088136"/>
          </a:xfrm>
          <a:prstGeom prst="roundRect">
            <a:avLst/>
          </a:prstGeom>
          <a:solidFill>
            <a:schemeClr val="bg1"/>
          </a:solidFill>
          <a:ln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4AE7A29-741C-081D-2A4B-E2F46D8007B5}"/>
              </a:ext>
            </a:extLst>
          </p:cNvPr>
          <p:cNvSpPr/>
          <p:nvPr/>
        </p:nvSpPr>
        <p:spPr>
          <a:xfrm>
            <a:off x="7295611" y="6400800"/>
            <a:ext cx="854476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0E31A8-0757-DDCB-C55E-C4A18A579374}"/>
              </a:ext>
            </a:extLst>
          </p:cNvPr>
          <p:cNvSpPr/>
          <p:nvPr/>
        </p:nvSpPr>
        <p:spPr>
          <a:xfrm>
            <a:off x="4453309" y="6454064"/>
            <a:ext cx="1150321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559B3D18-CB62-92A3-FAED-FDF6DBD9FB10}"/>
              </a:ext>
            </a:extLst>
          </p:cNvPr>
          <p:cNvSpPr/>
          <p:nvPr/>
        </p:nvSpPr>
        <p:spPr>
          <a:xfrm>
            <a:off x="4453309" y="2902219"/>
            <a:ext cx="1150321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CA1AC9AF-0637-B8B2-1226-439910BB75C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758" b="10778"/>
          <a:stretch/>
        </p:blipFill>
        <p:spPr>
          <a:xfrm>
            <a:off x="86817" y="2618698"/>
            <a:ext cx="4097256" cy="49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874740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B39866-4A17-6731-B987-8D37905D8F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3F5B8E9-319C-6C6D-6BC5-32AF9BF287A6}"/>
              </a:ext>
            </a:extLst>
          </p:cNvPr>
          <p:cNvSpPr/>
          <p:nvPr/>
        </p:nvSpPr>
        <p:spPr>
          <a:xfrm>
            <a:off x="314793" y="1063049"/>
            <a:ext cx="5745402" cy="4716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7293DB5-A355-9BF0-B48A-17A305F029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1657966"/>
            <a:ext cx="5517200" cy="45479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9538DA9-36AD-16B6-6AEA-47BE04593A42}"/>
              </a:ext>
            </a:extLst>
          </p:cNvPr>
          <p:cNvSpPr txBox="1"/>
          <p:nvPr/>
        </p:nvSpPr>
        <p:spPr>
          <a:xfrm>
            <a:off x="425155" y="1489767"/>
            <a:ext cx="5767043" cy="12885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7DD9F1A-36CB-05CF-98C8-80F9460F08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1" y="1657966"/>
            <a:ext cx="5517199" cy="4547961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AAB459B2-DAEE-7BF5-5E82-E591720A93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55959" y="1657964"/>
            <a:ext cx="5721247" cy="47161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A672B73-8D31-3529-0A36-FDA65C5BAAB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6354" y="1246032"/>
            <a:ext cx="4924627" cy="73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945669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926A0F-449A-80F0-A565-BB4F501B1D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FC6E19-25DB-444E-B2D5-286C92E0B7E5}"/>
              </a:ext>
            </a:extLst>
          </p:cNvPr>
          <p:cNvSpPr/>
          <p:nvPr/>
        </p:nvSpPr>
        <p:spPr>
          <a:xfrm>
            <a:off x="314793" y="1063049"/>
            <a:ext cx="5745402" cy="4716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2FC2B20-94CD-E563-21FD-426F6E00A0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1657966"/>
            <a:ext cx="5517200" cy="45479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A896371-DFCC-5520-9953-51FDA0C1C656}"/>
              </a:ext>
            </a:extLst>
          </p:cNvPr>
          <p:cNvSpPr txBox="1"/>
          <p:nvPr/>
        </p:nvSpPr>
        <p:spPr>
          <a:xfrm>
            <a:off x="425155" y="1489767"/>
            <a:ext cx="5767043" cy="41970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 == 2019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roup_by</a:t>
            </a:r>
            <a:r>
              <a:rPr lang="en-US" dirty="0">
                <a:latin typeface="Monaco" pitchFamily="2" charset="77"/>
              </a:rPr>
              <a:t>(continent) |&gt;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summarize(n=n()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, n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col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fill=continent=="Asia"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scale_fill_</a:t>
            </a:r>
            <a:r>
              <a:rPr lang="en-US" strike="sngStrike" dirty="0" err="1">
                <a:latin typeface="Monaco" pitchFamily="2" charset="77"/>
              </a:rPr>
              <a:t>brewer</a:t>
            </a:r>
            <a:r>
              <a:rPr lang="en-US" strike="sngStrike" dirty="0">
                <a:latin typeface="Monaco" pitchFamily="2" charset="77"/>
              </a:rPr>
              <a:t>(palette='Accent')</a:t>
            </a:r>
          </a:p>
          <a:p>
            <a:pPr>
              <a:lnSpc>
                <a:spcPct val="150000"/>
              </a:lnSpc>
            </a:pPr>
            <a:endParaRPr lang="en-US" dirty="0">
              <a:latin typeface="Monaco" pitchFamily="2" charset="77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AECA9A6-6FED-9473-10A4-2462FBDE28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1" y="1657966"/>
            <a:ext cx="5517199" cy="4547961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1D1D3664-F359-CDF9-EC0C-60C0017B00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55959" y="1657964"/>
            <a:ext cx="5721247" cy="47161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F7C6098-667F-1963-0283-69BC7A8619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6354" y="1246032"/>
            <a:ext cx="4924627" cy="73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5841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2538</TotalTime>
  <Words>4022</Words>
  <Application>Microsoft Macintosh PowerPoint</Application>
  <PresentationFormat>Widescreen</PresentationFormat>
  <Paragraphs>850</Paragraphs>
  <Slides>115</Slides>
  <Notes>30</Notes>
  <HiddenSlides>15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5</vt:i4>
      </vt:variant>
    </vt:vector>
  </HeadingPairs>
  <TitlesOfParts>
    <vt:vector size="127" baseType="lpstr">
      <vt:lpstr>Andale Mono</vt:lpstr>
      <vt:lpstr>Arial</vt:lpstr>
      <vt:lpstr>Calibri</vt:lpstr>
      <vt:lpstr>Calibri Light</vt:lpstr>
      <vt:lpstr>Helvetica</vt:lpstr>
      <vt:lpstr>Lucida Console</vt:lpstr>
      <vt:lpstr>Monaco</vt:lpstr>
      <vt:lpstr>Source Sans Pro</vt:lpstr>
      <vt:lpstr>SourceSansPro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Center for Data &amp; Visualization Sciences (CDVS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gplot2 default colors for facto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en Nichols (she/her/hers)</dc:creator>
  <cp:lastModifiedBy>Lauren Nichols (she/her/hers)</cp:lastModifiedBy>
  <cp:revision>31</cp:revision>
  <cp:lastPrinted>2023-08-24T18:51:06Z</cp:lastPrinted>
  <dcterms:created xsi:type="dcterms:W3CDTF">2023-08-24T18:44:09Z</dcterms:created>
  <dcterms:modified xsi:type="dcterms:W3CDTF">2026-01-30T14:39:42Z</dcterms:modified>
</cp:coreProperties>
</file>